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86" r:id="rId4"/>
    <p:sldMasterId id="2147483826" r:id="rId5"/>
  </p:sldMasterIdLst>
  <p:notesMasterIdLst>
    <p:notesMasterId r:id="rId23"/>
  </p:notesMasterIdLst>
  <p:sldIdLst>
    <p:sldId id="2147375554" r:id="rId6"/>
    <p:sldId id="257" r:id="rId7"/>
    <p:sldId id="258" r:id="rId8"/>
    <p:sldId id="259" r:id="rId9"/>
    <p:sldId id="260" r:id="rId10"/>
    <p:sldId id="285" r:id="rId11"/>
    <p:sldId id="262" r:id="rId12"/>
    <p:sldId id="279" r:id="rId13"/>
    <p:sldId id="263" r:id="rId14"/>
    <p:sldId id="264" r:id="rId15"/>
    <p:sldId id="280" r:id="rId16"/>
    <p:sldId id="281" r:id="rId17"/>
    <p:sldId id="284" r:id="rId18"/>
    <p:sldId id="2147375555" r:id="rId19"/>
    <p:sldId id="273" r:id="rId20"/>
    <p:sldId id="2146848465" r:id="rId21"/>
    <p:sldId id="1448942772" r:id="rId22"/>
  </p:sldIdLst>
  <p:sldSz cx="12192000" cy="6858000"/>
  <p:notesSz cx="6858000" cy="9144000"/>
  <p:custDataLst>
    <p:tags r:id="rId2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7930010-E828-DDC4-6F7C-51E890FDAC2D}" name="Kelly, Timothy" initials="TAK" userId="Kelly, Timothy" providerId="None"/>
  <p188:author id="{393D6815-2716-FBE3-9CF0-D1916B6718AD}" name="Wishart, Margaret" initials="WM" userId="S::margaret.wishart@bms.com::d6f77ff0-3731-440a-88b0-47843c0c826f" providerId="AD"/>
  <p188:author id="{62AA2229-8A99-6C11-4689-5A9FD28B72F4}" name="Vohra, Rajan" initials="VR" userId="S::rajan.vohra@bms.com::8133aa09-0609-47b0-92d5-58847b133ee6" providerId="AD"/>
  <p188:author id="{463A7195-9944-6E04-EAF0-02C533D55D2E}" name="Shamarlon" initials="S" userId="Shamarlon" providerId="None"/>
  <p188:author id="{3D6D80D0-A3CB-10EE-C6E9-2D4AEA164878}" name="Tarap, Karma" initials="TK" userId="S::karma.tarap@bms.com::5e9b3786-c398-4de2-a5c6-172eeeadbc09" providerId="AD"/>
  <p188:author id="{904C5CD8-9DD2-2D2B-0354-F5F0A6CF9200}" name="Sharma, Vijay" initials="SV" userId="S::vijay.sharma@bms.com::d2ae7b00-2742-4fdd-84f9-4020386c5179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iinch, Katie" initials="MK" lastIdx="5" clrIdx="0">
    <p:extLst>
      <p:ext uri="{19B8F6BF-5375-455C-9EA6-DF929625EA0E}">
        <p15:presenceInfo xmlns:p15="http://schemas.microsoft.com/office/powerpoint/2012/main" userId="S::katie.miinch@accenture.com::6c223bd2-1556-40b5-ab80-f6c2e596d3cb" providerId="AD"/>
      </p:ext>
    </p:extLst>
  </p:cmAuthor>
  <p:cmAuthor id="2" name="Shamarlon" initials="S" lastIdx="5" clrIdx="1">
    <p:extLst>
      <p:ext uri="{19B8F6BF-5375-455C-9EA6-DF929625EA0E}">
        <p15:presenceInfo xmlns:p15="http://schemas.microsoft.com/office/powerpoint/2012/main" userId="Shamarlon" providerId="None"/>
      </p:ext>
    </p:extLst>
  </p:cmAuthor>
  <p:cmAuthor id="3" name="Borgman, Andrew" initials="BA" lastIdx="2" clrIdx="2">
    <p:extLst>
      <p:ext uri="{19B8F6BF-5375-455C-9EA6-DF929625EA0E}">
        <p15:presenceInfo xmlns:p15="http://schemas.microsoft.com/office/powerpoint/2012/main" userId="S::andrew.borgman@bms.com::0eaffa8c-d524-4875-897f-ccefdc98227c" providerId="AD"/>
      </p:ext>
    </p:extLst>
  </p:cmAuthor>
  <p:cmAuthor id="4" name="Thorne, Nicole" initials="TN" lastIdx="5" clrIdx="3">
    <p:extLst>
      <p:ext uri="{19B8F6BF-5375-455C-9EA6-DF929625EA0E}">
        <p15:presenceInfo xmlns:p15="http://schemas.microsoft.com/office/powerpoint/2012/main" userId="S::nicole.thorne@bms.com::4376608f-51a2-41db-85fc-2ad30a4a7356" providerId="AD"/>
      </p:ext>
    </p:extLst>
  </p:cmAuthor>
  <p:cmAuthor id="5" name="Sharma, Vijay" initials="SV" lastIdx="1" clrIdx="4">
    <p:extLst>
      <p:ext uri="{19B8F6BF-5375-455C-9EA6-DF929625EA0E}">
        <p15:presenceInfo xmlns:p15="http://schemas.microsoft.com/office/powerpoint/2012/main" userId="S::vijay.sharma@bms.com::d2ae7b00-2742-4fdd-84f9-4020386c517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6DB7"/>
    <a:srgbClr val="E4BEE0"/>
    <a:srgbClr val="FFF7FF"/>
    <a:srgbClr val="9D4595"/>
    <a:srgbClr val="FFEFFF"/>
    <a:srgbClr val="DAAAD5"/>
    <a:srgbClr val="AE4CA5"/>
    <a:srgbClr val="66CCFF"/>
    <a:srgbClr val="FFDDFF"/>
    <a:srgbClr val="CA84C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08" d="100"/>
          <a:sy n="108" d="100"/>
        </p:scale>
        <p:origin x="678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ags" Target="tags/tag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viewProps" Target="viewProps.xml"/><Relationship Id="rId30" Type="http://schemas.microsoft.com/office/2018/10/relationships/authors" Target="author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223D786-DB72-42F8-AFBA-DC26C5836053}" type="datetimeFigureOut">
              <a:rPr lang="en-US" smtClean="0"/>
              <a:t>10/25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C61D4DD-0FCF-450E-AFD8-E5F9FBDE7CA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956721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C5A201C-07EF-465E-A34E-6510DF56B8B0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08419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61D4DD-0FCF-450E-AFD8-E5F9FBDE7CAD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29212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">
            <a:extLst>
              <a:ext uri="{FF2B5EF4-FFF2-40B4-BE49-F238E27FC236}">
                <a16:creationId xmlns:a16="http://schemas.microsoft.com/office/drawing/2014/main" id="{692E5CDC-3F8F-AF4C-BDBB-F6335CB85FE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5760" y="365760"/>
            <a:ext cx="7543164" cy="457200"/>
          </a:xfrm>
        </p:spPr>
        <p:txBody>
          <a:bodyPr/>
          <a:lstStyle>
            <a:lvl1pPr marL="0" marR="0" indent="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Trebuchet MS" panose="020B0603020202020204" pitchFamily="34" charset="0"/>
              <a:buNone/>
              <a:tabLst/>
              <a:defRPr b="1"/>
            </a:lvl1pPr>
            <a:lvl2pPr marL="0" indent="0">
              <a:spcBef>
                <a:spcPts val="0"/>
              </a:spcBef>
              <a:buNone/>
              <a:defRPr b="1"/>
            </a:lvl2pPr>
            <a:lvl3pPr marL="0" indent="0">
              <a:spcBef>
                <a:spcPts val="0"/>
              </a:spcBef>
              <a:buNone/>
              <a:defRPr b="1"/>
            </a:lvl3pPr>
            <a:lvl4pPr marL="0" indent="0">
              <a:spcBef>
                <a:spcPts val="0"/>
              </a:spcBef>
              <a:buNone/>
              <a:defRPr b="1"/>
            </a:lvl4pPr>
            <a:lvl5pPr marL="0" indent="0">
              <a:spcBef>
                <a:spcPts val="0"/>
              </a:spcBef>
              <a:buNone/>
              <a:defRPr b="1"/>
            </a:lvl5pPr>
            <a:lvl6pPr marL="0" indent="0">
              <a:spcBef>
                <a:spcPts val="0"/>
              </a:spcBef>
              <a:buNone/>
              <a:defRPr b="1"/>
            </a:lvl6pPr>
            <a:lvl7pPr marL="0" indent="0">
              <a:spcBef>
                <a:spcPts val="0"/>
              </a:spcBef>
              <a:buNone/>
              <a:defRPr b="1"/>
            </a:lvl7pPr>
            <a:lvl8pPr marL="0" indent="0">
              <a:spcBef>
                <a:spcPts val="0"/>
              </a:spcBef>
              <a:buNone/>
              <a:defRPr b="1"/>
            </a:lvl8pPr>
            <a:lvl9pPr marL="0" indent="0">
              <a:spcBef>
                <a:spcPts val="0"/>
              </a:spcBef>
              <a:buNone/>
              <a:defRPr b="1"/>
            </a:lvl9pPr>
          </a:lstStyle>
          <a:p>
            <a:pPr lvl="0"/>
            <a:r>
              <a:rPr lang="en-US"/>
              <a:t>Division/Therapeutic Area [Edit here]</a:t>
            </a: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DD93F370-0603-42F8-A7D8-E3390EE706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5760" y="1554480"/>
            <a:ext cx="7543164" cy="2560320"/>
          </a:xfrm>
        </p:spPr>
        <p:txBody>
          <a:bodyPr anchor="t" anchorCtr="0"/>
          <a:lstStyle>
            <a:lvl1pPr algn="l">
              <a:defRPr sz="6000" b="0" spc="0" baseline="0"/>
            </a:lvl1pPr>
          </a:lstStyle>
          <a:p>
            <a:r>
              <a:rPr lang="en-US"/>
              <a:t>[Presentation title]</a:t>
            </a:r>
          </a:p>
        </p:txBody>
      </p:sp>
      <p:sp>
        <p:nvSpPr>
          <p:cNvPr id="3" name="Subtitle 3">
            <a:extLst>
              <a:ext uri="{FF2B5EF4-FFF2-40B4-BE49-F238E27FC236}">
                <a16:creationId xmlns:a16="http://schemas.microsoft.com/office/drawing/2014/main" id="{4077195B-8D8D-4BD5-8ADD-A390F24676C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758" y="4343400"/>
            <a:ext cx="7543801" cy="4572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 b="1"/>
            </a:lvl1pPr>
            <a:lvl2pPr marL="0" indent="0" algn="l">
              <a:spcBef>
                <a:spcPts val="0"/>
              </a:spcBef>
              <a:buNone/>
              <a:defRPr sz="2000"/>
            </a:lvl2pPr>
            <a:lvl3pPr marL="0" indent="0" algn="l">
              <a:spcBef>
                <a:spcPts val="0"/>
              </a:spcBef>
              <a:buNone/>
              <a:defRPr sz="2000"/>
            </a:lvl3pPr>
            <a:lvl4pPr marL="0" indent="0" algn="l">
              <a:spcBef>
                <a:spcPts val="0"/>
              </a:spcBef>
              <a:buNone/>
              <a:defRPr sz="2000"/>
            </a:lvl4pPr>
            <a:lvl5pPr marL="0" indent="0" algn="l">
              <a:spcBef>
                <a:spcPts val="0"/>
              </a:spcBef>
              <a:buNone/>
              <a:defRPr sz="2000"/>
            </a:lvl5pPr>
            <a:lvl6pPr marL="0" indent="0" algn="l">
              <a:spcBef>
                <a:spcPts val="0"/>
              </a:spcBef>
              <a:buNone/>
              <a:defRPr sz="2000"/>
            </a:lvl6pPr>
            <a:lvl7pPr marL="0" indent="0" algn="l">
              <a:spcBef>
                <a:spcPts val="0"/>
              </a:spcBef>
              <a:buNone/>
              <a:defRPr sz="2000"/>
            </a:lvl7pPr>
            <a:lvl8pPr marL="0" indent="0" algn="l">
              <a:spcBef>
                <a:spcPts val="0"/>
              </a:spcBef>
              <a:buNone/>
              <a:defRPr sz="2000"/>
            </a:lvl8pPr>
            <a:lvl9pPr marL="0" indent="0" algn="l">
              <a:spcBef>
                <a:spcPts val="0"/>
              </a:spcBef>
              <a:buNone/>
              <a:defRPr sz="2000"/>
            </a:lvl9pPr>
          </a:lstStyle>
          <a:p>
            <a:r>
              <a:rPr lang="en-US"/>
              <a:t>[Month 00, 0000]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7CE39BE-06F7-7349-BF12-45D065ED872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5759" y="4937760"/>
            <a:ext cx="7543166" cy="6858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b="0"/>
            </a:lvl1pPr>
            <a:lvl2pPr marL="0" indent="0">
              <a:spcBef>
                <a:spcPts val="0"/>
              </a:spcBef>
              <a:buNone/>
              <a:defRPr b="0"/>
            </a:lvl2pPr>
            <a:lvl3pPr marL="0" indent="0">
              <a:spcBef>
                <a:spcPts val="0"/>
              </a:spcBef>
              <a:buNone/>
              <a:defRPr b="0"/>
            </a:lvl3pPr>
            <a:lvl4pPr marL="0" indent="0">
              <a:spcBef>
                <a:spcPts val="0"/>
              </a:spcBef>
              <a:buNone/>
              <a:defRPr b="0"/>
            </a:lvl4pPr>
            <a:lvl5pPr marL="0" indent="0">
              <a:spcBef>
                <a:spcPts val="0"/>
              </a:spcBef>
              <a:buNone/>
              <a:defRPr b="0"/>
            </a:lvl5pPr>
            <a:lvl6pPr marL="0" indent="0">
              <a:spcBef>
                <a:spcPts val="0"/>
              </a:spcBef>
              <a:buNone/>
              <a:defRPr b="0"/>
            </a:lvl6pPr>
            <a:lvl7pPr marL="0" indent="0">
              <a:spcBef>
                <a:spcPts val="0"/>
              </a:spcBef>
              <a:buNone/>
              <a:defRPr b="0"/>
            </a:lvl7pPr>
            <a:lvl8pPr marL="0" indent="0">
              <a:spcBef>
                <a:spcPts val="0"/>
              </a:spcBef>
              <a:buNone/>
              <a:defRPr b="0"/>
            </a:lvl8pPr>
            <a:lvl9pPr marL="0" indent="0">
              <a:spcBef>
                <a:spcPts val="0"/>
              </a:spcBef>
              <a:buNone/>
              <a:defRPr b="0"/>
            </a:lvl9pPr>
          </a:lstStyle>
          <a:p>
            <a:pPr lvl="0"/>
            <a:r>
              <a:rPr lang="en-US"/>
              <a:t>[Presenter Name]</a:t>
            </a:r>
            <a:br>
              <a:rPr lang="en-US"/>
            </a:br>
            <a:r>
              <a:rPr lang="en-US"/>
              <a:t>[Title]</a:t>
            </a:r>
          </a:p>
        </p:txBody>
      </p:sp>
      <p:pic>
        <p:nvPicPr>
          <p:cNvPr id="7" name="Bristol Myers Squibb" descr="Bristol Myers Squibb">
            <a:extLst>
              <a:ext uri="{FF2B5EF4-FFF2-40B4-BE49-F238E27FC236}">
                <a16:creationId xmlns:a16="http://schemas.microsoft.com/office/drawing/2014/main" id="{91000A19-9025-2C4A-9321-625720905BF5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50689" y="5913096"/>
            <a:ext cx="3260485" cy="822960"/>
          </a:xfrm>
          <a:prstGeom prst="rect">
            <a:avLst/>
          </a:prstGeom>
          <a:noFill/>
        </p:spPr>
      </p:pic>
      <p:sp>
        <p:nvSpPr>
          <p:cNvPr id="10" name="Disclaimer">
            <a:extLst>
              <a:ext uri="{FF2B5EF4-FFF2-40B4-BE49-F238E27FC236}">
                <a16:creationId xmlns:a16="http://schemas.microsoft.com/office/drawing/2014/main" id="{0411BC70-4820-DF40-90C3-6ACD451ADD60}"/>
              </a:ext>
            </a:extLst>
          </p:cNvPr>
          <p:cNvSpPr txBox="1"/>
          <p:nvPr/>
        </p:nvSpPr>
        <p:spPr>
          <a:xfrm>
            <a:off x="8205217" y="6257290"/>
            <a:ext cx="3621659" cy="2286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indent="0" algn="r">
              <a:lnSpc>
                <a:spcPct val="100000"/>
              </a:lnSpc>
              <a:spcBef>
                <a:spcPts val="0"/>
              </a:spcBef>
              <a:buSzPct val="100000"/>
              <a:buFontTx/>
              <a:buNone/>
            </a:pPr>
            <a:r>
              <a:rPr lang="en-US" sz="800" b="0"/>
              <a:t>High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1286806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498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Statem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7244BE-F5F5-DB40-B805-09B59F695D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[Optional slide title]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BCB52D-820B-4886-993D-F1BD3CE0A1B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65761" y="1554479"/>
            <a:ext cx="8524240" cy="4572000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6000" b="0" spc="0" baseline="0">
                <a:solidFill>
                  <a:schemeClr val="tx1"/>
                </a:solidFill>
                <a:latin typeface="+mn-lt"/>
              </a:defRPr>
            </a:lvl1pPr>
            <a:lvl2pPr marL="228604">
              <a:spcBef>
                <a:spcPts val="1200"/>
              </a:spcBef>
              <a:defRPr/>
            </a:lvl2pPr>
            <a:lvl3pPr marL="457206">
              <a:defRPr/>
            </a:lvl3pPr>
            <a:lvl4pPr marL="685809">
              <a:defRPr/>
            </a:lvl4pPr>
            <a:lvl5pPr marL="914411">
              <a:defRPr/>
            </a:lvl5pPr>
            <a:lvl6pPr marL="1143015">
              <a:defRPr/>
            </a:lvl6pPr>
            <a:lvl7pPr marL="1371617">
              <a:defRPr/>
            </a:lvl7pPr>
            <a:lvl8pPr marL="1600221">
              <a:defRPr/>
            </a:lvl8pPr>
            <a:lvl9pPr marL="1828823">
              <a:defRPr/>
            </a:lvl9pPr>
          </a:lstStyle>
          <a:p>
            <a:pPr lvl="0"/>
            <a:r>
              <a:rPr lang="en-US"/>
              <a:t>[Big statement]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A7A49372-BC99-44B1-93F3-52B055BA1B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6200" y="6429375"/>
            <a:ext cx="320041" cy="228600"/>
          </a:xfrm>
          <a:prstGeom prst="rect">
            <a:avLst/>
          </a:prstGeom>
        </p:spPr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64670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560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Statement - Amber">
    <p:bg>
      <p:bgPr>
        <a:gradFill>
          <a:gsLst>
            <a:gs pos="0">
              <a:srgbClr val="FFFBF4"/>
            </a:gs>
            <a:gs pos="100000">
              <a:srgbClr val="FFECCD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7244BE-F5F5-DB40-B805-09B59F695D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760" y="365760"/>
            <a:ext cx="11460480" cy="914400"/>
          </a:xfrm>
        </p:spPr>
        <p:txBody>
          <a:bodyPr/>
          <a:lstStyle/>
          <a:p>
            <a:r>
              <a:rPr lang="en-US"/>
              <a:t>[Optional slide title]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BCB52D-820B-4886-993D-F1BD3CE0A1B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65761" y="1554479"/>
            <a:ext cx="8524240" cy="4572000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6000" b="0" spc="0" baseline="0">
                <a:solidFill>
                  <a:schemeClr val="tx1"/>
                </a:solidFill>
                <a:latin typeface="+mn-lt"/>
              </a:defRPr>
            </a:lvl1pPr>
            <a:lvl2pPr marL="228604">
              <a:spcBef>
                <a:spcPts val="1200"/>
              </a:spcBef>
              <a:defRPr/>
            </a:lvl2pPr>
            <a:lvl3pPr marL="457206">
              <a:defRPr/>
            </a:lvl3pPr>
            <a:lvl4pPr marL="685809">
              <a:defRPr/>
            </a:lvl4pPr>
            <a:lvl5pPr marL="914411">
              <a:defRPr/>
            </a:lvl5pPr>
            <a:lvl6pPr marL="1143015">
              <a:defRPr/>
            </a:lvl6pPr>
            <a:lvl7pPr marL="1371617">
              <a:defRPr/>
            </a:lvl7pPr>
            <a:lvl8pPr marL="1600221">
              <a:defRPr/>
            </a:lvl8pPr>
            <a:lvl9pPr marL="1828823">
              <a:defRPr/>
            </a:lvl9pPr>
          </a:lstStyle>
          <a:p>
            <a:pPr lvl="0"/>
            <a:r>
              <a:rPr lang="en-US"/>
              <a:t>[Big statement]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A7A49372-BC99-44B1-93F3-52B055BA1B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6200" y="6429375"/>
            <a:ext cx="320041" cy="228600"/>
          </a:xfrm>
          <a:prstGeom prst="rect">
            <a:avLst/>
          </a:prstGeom>
        </p:spPr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49567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560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Statement - Peach">
    <p:bg>
      <p:bgPr>
        <a:gradFill>
          <a:gsLst>
            <a:gs pos="0">
              <a:srgbClr val="FFF7F3"/>
            </a:gs>
            <a:gs pos="100000">
              <a:srgbClr val="FEDCCA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7244BE-F5F5-DB40-B805-09B59F695D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760" y="365760"/>
            <a:ext cx="11460480" cy="914400"/>
          </a:xfrm>
        </p:spPr>
        <p:txBody>
          <a:bodyPr/>
          <a:lstStyle/>
          <a:p>
            <a:r>
              <a:rPr lang="en-US"/>
              <a:t>[Optional slide title]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BCB52D-820B-4886-993D-F1BD3CE0A1B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65761" y="1554479"/>
            <a:ext cx="8524240" cy="4572000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6000" b="0" spc="0" baseline="0">
                <a:solidFill>
                  <a:schemeClr val="tx1"/>
                </a:solidFill>
                <a:latin typeface="+mn-lt"/>
              </a:defRPr>
            </a:lvl1pPr>
            <a:lvl2pPr marL="228604">
              <a:spcBef>
                <a:spcPts val="1200"/>
              </a:spcBef>
              <a:defRPr/>
            </a:lvl2pPr>
            <a:lvl3pPr marL="457206">
              <a:defRPr/>
            </a:lvl3pPr>
            <a:lvl4pPr marL="685809">
              <a:defRPr/>
            </a:lvl4pPr>
            <a:lvl5pPr marL="914411">
              <a:defRPr/>
            </a:lvl5pPr>
            <a:lvl6pPr marL="1143015">
              <a:defRPr/>
            </a:lvl6pPr>
            <a:lvl7pPr marL="1371617">
              <a:defRPr/>
            </a:lvl7pPr>
            <a:lvl8pPr marL="1600221">
              <a:defRPr/>
            </a:lvl8pPr>
            <a:lvl9pPr marL="1828823">
              <a:defRPr/>
            </a:lvl9pPr>
          </a:lstStyle>
          <a:p>
            <a:pPr lvl="0"/>
            <a:r>
              <a:rPr lang="en-US"/>
              <a:t>[Big statement]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A7A49372-BC99-44B1-93F3-52B055BA1B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6200" y="6429375"/>
            <a:ext cx="320041" cy="228600"/>
          </a:xfrm>
          <a:prstGeom prst="rect">
            <a:avLst/>
          </a:prstGeom>
        </p:spPr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5843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560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Statement - Olive">
    <p:bg>
      <p:bgPr>
        <a:gradFill>
          <a:gsLst>
            <a:gs pos="0">
              <a:srgbClr val="FAF6F3"/>
            </a:gs>
            <a:gs pos="100000">
              <a:srgbClr val="EAD5C9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7244BE-F5F5-DB40-B805-09B59F695D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760" y="365760"/>
            <a:ext cx="11460480" cy="914400"/>
          </a:xfrm>
        </p:spPr>
        <p:txBody>
          <a:bodyPr/>
          <a:lstStyle/>
          <a:p>
            <a:r>
              <a:rPr lang="en-US"/>
              <a:t>[Optional slide title]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BCB52D-820B-4886-993D-F1BD3CE0A1B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65761" y="1554479"/>
            <a:ext cx="8524240" cy="4572000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6000" b="0" spc="0" baseline="0">
                <a:solidFill>
                  <a:schemeClr val="tx1"/>
                </a:solidFill>
                <a:latin typeface="+mn-lt"/>
              </a:defRPr>
            </a:lvl1pPr>
            <a:lvl2pPr marL="228604">
              <a:spcBef>
                <a:spcPts val="1200"/>
              </a:spcBef>
              <a:defRPr/>
            </a:lvl2pPr>
            <a:lvl3pPr marL="457206">
              <a:defRPr/>
            </a:lvl3pPr>
            <a:lvl4pPr marL="685809">
              <a:defRPr/>
            </a:lvl4pPr>
            <a:lvl5pPr marL="914411">
              <a:defRPr/>
            </a:lvl5pPr>
            <a:lvl6pPr marL="1143015">
              <a:defRPr/>
            </a:lvl6pPr>
            <a:lvl7pPr marL="1371617">
              <a:defRPr/>
            </a:lvl7pPr>
            <a:lvl8pPr marL="1600221">
              <a:defRPr/>
            </a:lvl8pPr>
            <a:lvl9pPr marL="1828823">
              <a:defRPr/>
            </a:lvl9pPr>
          </a:lstStyle>
          <a:p>
            <a:pPr lvl="0"/>
            <a:r>
              <a:rPr lang="en-US"/>
              <a:t>[Big statement]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A7A49372-BC99-44B1-93F3-52B055BA1B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6200" y="6429375"/>
            <a:ext cx="320041" cy="228600"/>
          </a:xfrm>
          <a:prstGeom prst="rect">
            <a:avLst/>
          </a:prstGeom>
        </p:spPr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98775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560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Statement - Almond">
    <p:bg>
      <p:bgPr>
        <a:gradFill>
          <a:gsLst>
            <a:gs pos="0">
              <a:srgbClr val="F8F3F1"/>
            </a:gs>
            <a:gs pos="100000">
              <a:srgbClr val="DFCBC3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7244BE-F5F5-DB40-B805-09B59F695D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760" y="365760"/>
            <a:ext cx="11460480" cy="914400"/>
          </a:xfrm>
        </p:spPr>
        <p:txBody>
          <a:bodyPr/>
          <a:lstStyle/>
          <a:p>
            <a:r>
              <a:rPr lang="en-US"/>
              <a:t>[Optional slide title]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BCB52D-820B-4886-993D-F1BD3CE0A1B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65761" y="1554479"/>
            <a:ext cx="8524240" cy="4572000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6000" b="0" spc="0" baseline="0">
                <a:solidFill>
                  <a:schemeClr val="tx1"/>
                </a:solidFill>
                <a:latin typeface="+mn-lt"/>
              </a:defRPr>
            </a:lvl1pPr>
            <a:lvl2pPr marL="228604">
              <a:spcBef>
                <a:spcPts val="1200"/>
              </a:spcBef>
              <a:defRPr/>
            </a:lvl2pPr>
            <a:lvl3pPr marL="457206">
              <a:defRPr/>
            </a:lvl3pPr>
            <a:lvl4pPr marL="685809">
              <a:defRPr/>
            </a:lvl4pPr>
            <a:lvl5pPr marL="914411">
              <a:defRPr/>
            </a:lvl5pPr>
            <a:lvl6pPr marL="1143015">
              <a:defRPr/>
            </a:lvl6pPr>
            <a:lvl7pPr marL="1371617">
              <a:defRPr/>
            </a:lvl7pPr>
            <a:lvl8pPr marL="1600221">
              <a:defRPr/>
            </a:lvl8pPr>
            <a:lvl9pPr marL="1828823">
              <a:defRPr/>
            </a:lvl9pPr>
          </a:lstStyle>
          <a:p>
            <a:pPr lvl="0"/>
            <a:r>
              <a:rPr lang="en-US"/>
              <a:t>[Big statement]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A7A49372-BC99-44B1-93F3-52B055BA1B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6200" y="6429375"/>
            <a:ext cx="320041" cy="228600"/>
          </a:xfrm>
          <a:prstGeom prst="rect">
            <a:avLst/>
          </a:prstGeom>
        </p:spPr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75602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560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Statement - Sienna">
    <p:bg>
      <p:bgPr>
        <a:gradFill>
          <a:gsLst>
            <a:gs pos="0">
              <a:srgbClr val="F5F0F0"/>
            </a:gs>
            <a:gs pos="100000">
              <a:srgbClr val="DAC5C5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7244BE-F5F5-DB40-B805-09B59F695D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760" y="365760"/>
            <a:ext cx="11460480" cy="914400"/>
          </a:xfrm>
        </p:spPr>
        <p:txBody>
          <a:bodyPr/>
          <a:lstStyle/>
          <a:p>
            <a:r>
              <a:rPr lang="en-US"/>
              <a:t>[Optional slide title]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BCB52D-820B-4886-993D-F1BD3CE0A1B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65761" y="1554479"/>
            <a:ext cx="8524240" cy="4572000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6000" b="0" spc="0" baseline="0">
                <a:solidFill>
                  <a:schemeClr val="tx1"/>
                </a:solidFill>
                <a:latin typeface="+mn-lt"/>
              </a:defRPr>
            </a:lvl1pPr>
            <a:lvl2pPr marL="228604">
              <a:spcBef>
                <a:spcPts val="1200"/>
              </a:spcBef>
              <a:defRPr/>
            </a:lvl2pPr>
            <a:lvl3pPr marL="457206">
              <a:defRPr/>
            </a:lvl3pPr>
            <a:lvl4pPr marL="685809">
              <a:defRPr/>
            </a:lvl4pPr>
            <a:lvl5pPr marL="914411">
              <a:defRPr/>
            </a:lvl5pPr>
            <a:lvl6pPr marL="1143015">
              <a:defRPr/>
            </a:lvl6pPr>
            <a:lvl7pPr marL="1371617">
              <a:defRPr/>
            </a:lvl7pPr>
            <a:lvl8pPr marL="1600221">
              <a:defRPr/>
            </a:lvl8pPr>
            <a:lvl9pPr marL="1828823">
              <a:defRPr/>
            </a:lvl9pPr>
          </a:lstStyle>
          <a:p>
            <a:pPr lvl="0"/>
            <a:r>
              <a:rPr lang="en-US"/>
              <a:t>[Big statement]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A7A49372-BC99-44B1-93F3-52B055BA1B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6200" y="6429375"/>
            <a:ext cx="320041" cy="228600"/>
          </a:xfrm>
          <a:prstGeom prst="rect">
            <a:avLst/>
          </a:prstGeom>
        </p:spPr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76927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560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Statement - Chocolate">
    <p:bg>
      <p:bgPr>
        <a:gradFill>
          <a:gsLst>
            <a:gs pos="0">
              <a:srgbClr val="F6F4F3"/>
            </a:gs>
            <a:gs pos="100000">
              <a:srgbClr val="D2CAC8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7244BE-F5F5-DB40-B805-09B59F695D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760" y="365760"/>
            <a:ext cx="11460480" cy="914400"/>
          </a:xfrm>
        </p:spPr>
        <p:txBody>
          <a:bodyPr/>
          <a:lstStyle/>
          <a:p>
            <a:r>
              <a:rPr lang="en-US"/>
              <a:t>[Optional slide title]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BCB52D-820B-4886-993D-F1BD3CE0A1B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65761" y="1554479"/>
            <a:ext cx="8524240" cy="4572000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6000" b="0" spc="0" baseline="0">
                <a:solidFill>
                  <a:schemeClr val="tx1"/>
                </a:solidFill>
                <a:latin typeface="+mn-lt"/>
              </a:defRPr>
            </a:lvl1pPr>
            <a:lvl2pPr marL="228604">
              <a:spcBef>
                <a:spcPts val="1200"/>
              </a:spcBef>
              <a:defRPr/>
            </a:lvl2pPr>
            <a:lvl3pPr marL="457206">
              <a:defRPr/>
            </a:lvl3pPr>
            <a:lvl4pPr marL="685809">
              <a:defRPr/>
            </a:lvl4pPr>
            <a:lvl5pPr marL="914411">
              <a:defRPr/>
            </a:lvl5pPr>
            <a:lvl6pPr marL="1143015">
              <a:defRPr/>
            </a:lvl6pPr>
            <a:lvl7pPr marL="1371617">
              <a:defRPr/>
            </a:lvl7pPr>
            <a:lvl8pPr marL="1600221">
              <a:defRPr/>
            </a:lvl8pPr>
            <a:lvl9pPr marL="1828823">
              <a:defRPr/>
            </a:lvl9pPr>
          </a:lstStyle>
          <a:p>
            <a:pPr lvl="0"/>
            <a:r>
              <a:rPr lang="en-US"/>
              <a:t>[Big statement]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A7A49372-BC99-44B1-93F3-52B055BA1B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6200" y="6429375"/>
            <a:ext cx="320041" cy="228600"/>
          </a:xfrm>
          <a:prstGeom prst="rect">
            <a:avLst/>
          </a:prstGeom>
        </p:spPr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50247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560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Statement - Mint">
    <p:bg>
      <p:bgPr>
        <a:gradFill>
          <a:gsLst>
            <a:gs pos="0">
              <a:srgbClr val="F2FFF9"/>
            </a:gs>
            <a:gs pos="100000">
              <a:srgbClr val="C5FFE6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7244BE-F5F5-DB40-B805-09B59F695D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760" y="365760"/>
            <a:ext cx="11460480" cy="914400"/>
          </a:xfrm>
        </p:spPr>
        <p:txBody>
          <a:bodyPr/>
          <a:lstStyle/>
          <a:p>
            <a:r>
              <a:rPr lang="en-US"/>
              <a:t>[Optional slide title]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BCB52D-820B-4886-993D-F1BD3CE0A1B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65761" y="1554479"/>
            <a:ext cx="8524240" cy="4572000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6000" b="0" spc="0" baseline="0">
                <a:solidFill>
                  <a:schemeClr val="tx1"/>
                </a:solidFill>
                <a:latin typeface="+mn-lt"/>
              </a:defRPr>
            </a:lvl1pPr>
            <a:lvl2pPr marL="228604">
              <a:spcBef>
                <a:spcPts val="1200"/>
              </a:spcBef>
              <a:defRPr/>
            </a:lvl2pPr>
            <a:lvl3pPr marL="457206">
              <a:defRPr/>
            </a:lvl3pPr>
            <a:lvl4pPr marL="685809">
              <a:defRPr/>
            </a:lvl4pPr>
            <a:lvl5pPr marL="914411">
              <a:defRPr/>
            </a:lvl5pPr>
            <a:lvl6pPr marL="1143015">
              <a:defRPr/>
            </a:lvl6pPr>
            <a:lvl7pPr marL="1371617">
              <a:defRPr/>
            </a:lvl7pPr>
            <a:lvl8pPr marL="1600221">
              <a:defRPr/>
            </a:lvl8pPr>
            <a:lvl9pPr marL="1828823">
              <a:defRPr/>
            </a:lvl9pPr>
          </a:lstStyle>
          <a:p>
            <a:pPr lvl="0"/>
            <a:r>
              <a:rPr lang="en-US"/>
              <a:t>[Big statement]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A7A49372-BC99-44B1-93F3-52B055BA1B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6200" y="6429375"/>
            <a:ext cx="320041" cy="228600"/>
          </a:xfrm>
          <a:prstGeom prst="rect">
            <a:avLst/>
          </a:prstGeom>
        </p:spPr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89299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560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Statement - Aqua">
    <p:bg>
      <p:bgPr>
        <a:gradFill>
          <a:gsLst>
            <a:gs pos="0">
              <a:srgbClr val="EFFCFE"/>
            </a:gs>
            <a:gs pos="100000">
              <a:srgbClr val="C0F2FB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7244BE-F5F5-DB40-B805-09B59F695D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760" y="365760"/>
            <a:ext cx="11460480" cy="914400"/>
          </a:xfrm>
        </p:spPr>
        <p:txBody>
          <a:bodyPr/>
          <a:lstStyle/>
          <a:p>
            <a:r>
              <a:rPr lang="en-US"/>
              <a:t>[Optional slide title]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BCB52D-820B-4886-993D-F1BD3CE0A1B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65761" y="1554479"/>
            <a:ext cx="8524240" cy="4572000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6000" b="0" spc="0" baseline="0">
                <a:solidFill>
                  <a:schemeClr val="tx1"/>
                </a:solidFill>
                <a:latin typeface="+mn-lt"/>
              </a:defRPr>
            </a:lvl1pPr>
            <a:lvl2pPr marL="228604">
              <a:spcBef>
                <a:spcPts val="1200"/>
              </a:spcBef>
              <a:defRPr/>
            </a:lvl2pPr>
            <a:lvl3pPr marL="457206">
              <a:defRPr/>
            </a:lvl3pPr>
            <a:lvl4pPr marL="685809">
              <a:defRPr/>
            </a:lvl4pPr>
            <a:lvl5pPr marL="914411">
              <a:defRPr/>
            </a:lvl5pPr>
            <a:lvl6pPr marL="1143015">
              <a:defRPr/>
            </a:lvl6pPr>
            <a:lvl7pPr marL="1371617">
              <a:defRPr/>
            </a:lvl7pPr>
            <a:lvl8pPr marL="1600221">
              <a:defRPr/>
            </a:lvl8pPr>
            <a:lvl9pPr marL="1828823">
              <a:defRPr/>
            </a:lvl9pPr>
          </a:lstStyle>
          <a:p>
            <a:pPr lvl="0"/>
            <a:r>
              <a:rPr lang="en-US"/>
              <a:t>[Big statement]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A7A49372-BC99-44B1-93F3-52B055BA1B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6200" y="6429375"/>
            <a:ext cx="320041" cy="228600"/>
          </a:xfrm>
          <a:prstGeom prst="rect">
            <a:avLst/>
          </a:prstGeom>
        </p:spPr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81973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560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Statemnent - Light Gray">
    <p:bg>
      <p:bgPr>
        <a:solidFill>
          <a:srgbClr val="EE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7244BE-F5F5-DB40-B805-09B59F695D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760" y="365760"/>
            <a:ext cx="11460480" cy="914400"/>
          </a:xfrm>
        </p:spPr>
        <p:txBody>
          <a:bodyPr/>
          <a:lstStyle/>
          <a:p>
            <a:r>
              <a:rPr lang="en-US"/>
              <a:t>[Optional slide title]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BCB52D-820B-4886-993D-F1BD3CE0A1B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65761" y="1554479"/>
            <a:ext cx="8524240" cy="4572000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6000" b="0" spc="0" baseline="0">
                <a:solidFill>
                  <a:schemeClr val="tx1"/>
                </a:solidFill>
                <a:latin typeface="+mn-lt"/>
              </a:defRPr>
            </a:lvl1pPr>
            <a:lvl2pPr marL="228604">
              <a:spcBef>
                <a:spcPts val="1200"/>
              </a:spcBef>
              <a:defRPr/>
            </a:lvl2pPr>
            <a:lvl3pPr marL="457206">
              <a:defRPr/>
            </a:lvl3pPr>
            <a:lvl4pPr marL="685809">
              <a:defRPr/>
            </a:lvl4pPr>
            <a:lvl5pPr marL="914411">
              <a:defRPr/>
            </a:lvl5pPr>
            <a:lvl6pPr marL="1143015">
              <a:defRPr/>
            </a:lvl6pPr>
            <a:lvl7pPr marL="1371617">
              <a:defRPr/>
            </a:lvl7pPr>
            <a:lvl8pPr marL="1600221">
              <a:defRPr/>
            </a:lvl8pPr>
            <a:lvl9pPr marL="1828823">
              <a:defRPr/>
            </a:lvl9pPr>
          </a:lstStyle>
          <a:p>
            <a:pPr lvl="0"/>
            <a:r>
              <a:rPr lang="en-US"/>
              <a:t>[Big statement]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A7A49372-BC99-44B1-93F3-52B055BA1B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6200" y="6429375"/>
            <a:ext cx="320041" cy="228600"/>
          </a:xfrm>
          <a:prstGeom prst="rect">
            <a:avLst/>
          </a:prstGeom>
        </p:spPr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51224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560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Light Gray">
    <p:bg>
      <p:bgPr>
        <a:solidFill>
          <a:srgbClr val="EE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">
            <a:extLst>
              <a:ext uri="{FF2B5EF4-FFF2-40B4-BE49-F238E27FC236}">
                <a16:creationId xmlns:a16="http://schemas.microsoft.com/office/drawing/2014/main" id="{692E5CDC-3F8F-AF4C-BDBB-F6335CB85FE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5760" y="365760"/>
            <a:ext cx="7543164" cy="457200"/>
          </a:xfrm>
        </p:spPr>
        <p:txBody>
          <a:bodyPr/>
          <a:lstStyle>
            <a:lvl1pPr marL="0" marR="0" indent="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Trebuchet MS" panose="020B0603020202020204" pitchFamily="34" charset="0"/>
              <a:buNone/>
              <a:tabLst/>
              <a:defRPr b="1"/>
            </a:lvl1pPr>
            <a:lvl2pPr marL="0" indent="0">
              <a:spcBef>
                <a:spcPts val="0"/>
              </a:spcBef>
              <a:buNone/>
              <a:defRPr b="1"/>
            </a:lvl2pPr>
            <a:lvl3pPr marL="0" indent="0">
              <a:spcBef>
                <a:spcPts val="0"/>
              </a:spcBef>
              <a:buNone/>
              <a:defRPr b="1"/>
            </a:lvl3pPr>
            <a:lvl4pPr marL="0" indent="0">
              <a:spcBef>
                <a:spcPts val="0"/>
              </a:spcBef>
              <a:buNone/>
              <a:defRPr b="1"/>
            </a:lvl4pPr>
            <a:lvl5pPr marL="0" indent="0">
              <a:spcBef>
                <a:spcPts val="0"/>
              </a:spcBef>
              <a:buNone/>
              <a:defRPr b="1"/>
            </a:lvl5pPr>
            <a:lvl6pPr marL="0" indent="0">
              <a:spcBef>
                <a:spcPts val="0"/>
              </a:spcBef>
              <a:buNone/>
              <a:defRPr b="1"/>
            </a:lvl6pPr>
            <a:lvl7pPr marL="0" indent="0">
              <a:spcBef>
                <a:spcPts val="0"/>
              </a:spcBef>
              <a:buNone/>
              <a:defRPr b="1"/>
            </a:lvl7pPr>
            <a:lvl8pPr marL="0" indent="0">
              <a:spcBef>
                <a:spcPts val="0"/>
              </a:spcBef>
              <a:buNone/>
              <a:defRPr b="1"/>
            </a:lvl8pPr>
            <a:lvl9pPr marL="0" indent="0">
              <a:spcBef>
                <a:spcPts val="0"/>
              </a:spcBef>
              <a:buNone/>
              <a:defRPr b="1"/>
            </a:lvl9pPr>
          </a:lstStyle>
          <a:p>
            <a:pPr lvl="0"/>
            <a:r>
              <a:rPr lang="en-US"/>
              <a:t>Division/Therapeutic Area [Edit here]</a:t>
            </a: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DD93F370-0603-42F8-A7D8-E3390EE706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5760" y="1554480"/>
            <a:ext cx="7543164" cy="2560320"/>
          </a:xfrm>
        </p:spPr>
        <p:txBody>
          <a:bodyPr anchor="t" anchorCtr="0"/>
          <a:lstStyle>
            <a:lvl1pPr algn="l">
              <a:defRPr sz="6000" b="0" spc="0" baseline="0"/>
            </a:lvl1pPr>
          </a:lstStyle>
          <a:p>
            <a:r>
              <a:rPr lang="en-US"/>
              <a:t>[Presentation title]</a:t>
            </a:r>
          </a:p>
        </p:txBody>
      </p:sp>
      <p:sp>
        <p:nvSpPr>
          <p:cNvPr id="3" name="Subtitle 3">
            <a:extLst>
              <a:ext uri="{FF2B5EF4-FFF2-40B4-BE49-F238E27FC236}">
                <a16:creationId xmlns:a16="http://schemas.microsoft.com/office/drawing/2014/main" id="{4077195B-8D8D-4BD5-8ADD-A390F24676C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758" y="4343400"/>
            <a:ext cx="7543801" cy="4572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 b="1"/>
            </a:lvl1pPr>
            <a:lvl2pPr marL="0" indent="0" algn="l">
              <a:spcBef>
                <a:spcPts val="0"/>
              </a:spcBef>
              <a:buNone/>
              <a:defRPr sz="2000"/>
            </a:lvl2pPr>
            <a:lvl3pPr marL="0" indent="0" algn="l">
              <a:spcBef>
                <a:spcPts val="0"/>
              </a:spcBef>
              <a:buNone/>
              <a:defRPr sz="2000"/>
            </a:lvl3pPr>
            <a:lvl4pPr marL="0" indent="0" algn="l">
              <a:spcBef>
                <a:spcPts val="0"/>
              </a:spcBef>
              <a:buNone/>
              <a:defRPr sz="2000"/>
            </a:lvl4pPr>
            <a:lvl5pPr marL="0" indent="0" algn="l">
              <a:spcBef>
                <a:spcPts val="0"/>
              </a:spcBef>
              <a:buNone/>
              <a:defRPr sz="2000"/>
            </a:lvl5pPr>
            <a:lvl6pPr marL="0" indent="0" algn="l">
              <a:spcBef>
                <a:spcPts val="0"/>
              </a:spcBef>
              <a:buNone/>
              <a:defRPr sz="2000"/>
            </a:lvl6pPr>
            <a:lvl7pPr marL="0" indent="0" algn="l">
              <a:spcBef>
                <a:spcPts val="0"/>
              </a:spcBef>
              <a:buNone/>
              <a:defRPr sz="2000"/>
            </a:lvl7pPr>
            <a:lvl8pPr marL="0" indent="0" algn="l">
              <a:spcBef>
                <a:spcPts val="0"/>
              </a:spcBef>
              <a:buNone/>
              <a:defRPr sz="2000"/>
            </a:lvl8pPr>
            <a:lvl9pPr marL="0" indent="0" algn="l">
              <a:spcBef>
                <a:spcPts val="0"/>
              </a:spcBef>
              <a:buNone/>
              <a:defRPr sz="2000"/>
            </a:lvl9pPr>
          </a:lstStyle>
          <a:p>
            <a:r>
              <a:rPr lang="en-US"/>
              <a:t>[Month 00, 0000]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F1E892DE-B840-A64B-91A1-1B18F6037C3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5759" y="4937760"/>
            <a:ext cx="7543166" cy="6858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b="0"/>
            </a:lvl1pPr>
            <a:lvl2pPr marL="0" indent="0">
              <a:spcBef>
                <a:spcPts val="0"/>
              </a:spcBef>
              <a:buNone/>
              <a:defRPr b="0"/>
            </a:lvl2pPr>
            <a:lvl3pPr marL="0" indent="0">
              <a:spcBef>
                <a:spcPts val="0"/>
              </a:spcBef>
              <a:buNone/>
              <a:defRPr b="0"/>
            </a:lvl3pPr>
            <a:lvl4pPr marL="0" indent="0">
              <a:spcBef>
                <a:spcPts val="0"/>
              </a:spcBef>
              <a:buNone/>
              <a:defRPr b="0"/>
            </a:lvl4pPr>
            <a:lvl5pPr marL="0" indent="0">
              <a:spcBef>
                <a:spcPts val="0"/>
              </a:spcBef>
              <a:buNone/>
              <a:defRPr b="0"/>
            </a:lvl5pPr>
            <a:lvl6pPr marL="0" indent="0">
              <a:spcBef>
                <a:spcPts val="0"/>
              </a:spcBef>
              <a:buNone/>
              <a:defRPr b="0"/>
            </a:lvl6pPr>
            <a:lvl7pPr marL="0" indent="0">
              <a:spcBef>
                <a:spcPts val="0"/>
              </a:spcBef>
              <a:buNone/>
              <a:defRPr b="0"/>
            </a:lvl7pPr>
            <a:lvl8pPr marL="0" indent="0">
              <a:spcBef>
                <a:spcPts val="0"/>
              </a:spcBef>
              <a:buNone/>
              <a:defRPr b="0"/>
            </a:lvl8pPr>
            <a:lvl9pPr marL="0" indent="0">
              <a:spcBef>
                <a:spcPts val="0"/>
              </a:spcBef>
              <a:buNone/>
              <a:defRPr b="0"/>
            </a:lvl9pPr>
          </a:lstStyle>
          <a:p>
            <a:pPr lvl="0"/>
            <a:r>
              <a:rPr lang="en-US"/>
              <a:t>[Presenter Name]</a:t>
            </a:r>
            <a:br>
              <a:rPr lang="en-US"/>
            </a:br>
            <a:r>
              <a:rPr lang="en-US"/>
              <a:t>[Title]</a:t>
            </a:r>
          </a:p>
        </p:txBody>
      </p:sp>
      <p:pic>
        <p:nvPicPr>
          <p:cNvPr id="7" name="Bristol Myers Squibb" descr="Bristol Myers Squibb">
            <a:extLst>
              <a:ext uri="{FF2B5EF4-FFF2-40B4-BE49-F238E27FC236}">
                <a16:creationId xmlns:a16="http://schemas.microsoft.com/office/drawing/2014/main" id="{91000A19-9025-2C4A-9321-625720905BF5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50689" y="5913096"/>
            <a:ext cx="3260485" cy="82296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3886347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498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nd One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77D43C-8061-4F4B-A58C-537B44EA7F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761" y="365760"/>
            <a:ext cx="5428489" cy="9144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BCB52D-820B-4886-993D-F1BD3CE0A1B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5761" y="1554480"/>
            <a:ext cx="5428489" cy="4572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FB768959-B468-B74C-99C1-89889E5B1ED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  <a:solidFill>
            <a:srgbClr val="F2F2F2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FontTx/>
              <a:buNone/>
              <a:defRPr sz="12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A7A49372-BC99-44B1-93F3-52B055BA1B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6200" y="6429375"/>
            <a:ext cx="320041" cy="228600"/>
          </a:xfrm>
          <a:prstGeom prst="rect">
            <a:avLst/>
          </a:prstGeom>
        </p:spPr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11786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nd Two Pictur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77D43C-8061-4F4B-A58C-537B44EA7F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761" y="365760"/>
            <a:ext cx="5428489" cy="9144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BCB52D-820B-4886-993D-F1BD3CE0A1B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5761" y="1554480"/>
            <a:ext cx="5428489" cy="4572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FB768959-B468-B74C-99C1-89889E5B1ED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3429000"/>
          </a:xfrm>
          <a:solidFill>
            <a:srgbClr val="F2F2F2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FontTx/>
              <a:buNone/>
              <a:defRPr sz="12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Picture Placeholder 4">
            <a:extLst>
              <a:ext uri="{FF2B5EF4-FFF2-40B4-BE49-F238E27FC236}">
                <a16:creationId xmlns:a16="http://schemas.microsoft.com/office/drawing/2014/main" id="{A613A27A-887F-7D4B-BD42-C5EF05F1244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3429000"/>
            <a:ext cx="6096000" cy="3429000"/>
          </a:xfrm>
          <a:solidFill>
            <a:srgbClr val="D9D9D9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FontTx/>
              <a:buNone/>
              <a:defRPr sz="12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7A49372-BC99-44B1-93F3-52B055BA1B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6200" y="6429375"/>
            <a:ext cx="320041" cy="228600"/>
          </a:xfrm>
          <a:prstGeom prst="rect">
            <a:avLst/>
          </a:prstGeom>
        </p:spPr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52704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nd Three Pictur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77D43C-8061-4F4B-A58C-537B44EA7F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761" y="365760"/>
            <a:ext cx="5428489" cy="9144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BCB52D-820B-4886-993D-F1BD3CE0A1B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5761" y="1554480"/>
            <a:ext cx="5428489" cy="4572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FB768959-B468-B74C-99C1-89889E5B1ED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3429000"/>
          </a:xfrm>
          <a:solidFill>
            <a:srgbClr val="F2F2F2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FontTx/>
              <a:buNone/>
              <a:defRPr sz="12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Picture Placeholder 4">
            <a:extLst>
              <a:ext uri="{FF2B5EF4-FFF2-40B4-BE49-F238E27FC236}">
                <a16:creationId xmlns:a16="http://schemas.microsoft.com/office/drawing/2014/main" id="{A613A27A-887F-7D4B-BD42-C5EF05F1244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3429000"/>
            <a:ext cx="3044953" cy="3429000"/>
          </a:xfrm>
          <a:solidFill>
            <a:srgbClr val="D9D9D9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FontTx/>
              <a:buNone/>
              <a:defRPr sz="12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Picture Placeholder 5">
            <a:extLst>
              <a:ext uri="{FF2B5EF4-FFF2-40B4-BE49-F238E27FC236}">
                <a16:creationId xmlns:a16="http://schemas.microsoft.com/office/drawing/2014/main" id="{C2AB3B13-24B5-EA40-92B2-665869E4657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140952" y="3429000"/>
            <a:ext cx="3051049" cy="3429000"/>
          </a:xfrm>
          <a:solidFill>
            <a:srgbClr val="BFBFBF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FontTx/>
              <a:buNone/>
              <a:defRPr sz="12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Slide Number Placeholder 6">
            <a:extLst>
              <a:ext uri="{FF2B5EF4-FFF2-40B4-BE49-F238E27FC236}">
                <a16:creationId xmlns:a16="http://schemas.microsoft.com/office/drawing/2014/main" id="{A7A49372-BC99-44B1-93F3-52B055BA1B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6200" y="6429375"/>
            <a:ext cx="320041" cy="228600"/>
          </a:xfrm>
          <a:prstGeom prst="rect">
            <a:avLst/>
          </a:prstGeom>
        </p:spPr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67855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nd Four Pictur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77D43C-8061-4F4B-A58C-537B44EA7F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761" y="365760"/>
            <a:ext cx="5428489" cy="9144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BCB52D-820B-4886-993D-F1BD3CE0A1B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5761" y="1554480"/>
            <a:ext cx="5428489" cy="4572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FB768959-B468-B74C-99C1-89889E5B1ED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3429000"/>
          </a:xfrm>
          <a:solidFill>
            <a:srgbClr val="F2F2F2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FontTx/>
              <a:buNone/>
              <a:defRPr sz="12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Picture Placeholder 4">
            <a:extLst>
              <a:ext uri="{FF2B5EF4-FFF2-40B4-BE49-F238E27FC236}">
                <a16:creationId xmlns:a16="http://schemas.microsoft.com/office/drawing/2014/main" id="{A613A27A-887F-7D4B-BD42-C5EF05F1244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3429000"/>
            <a:ext cx="3044953" cy="3429000"/>
          </a:xfrm>
          <a:solidFill>
            <a:srgbClr val="D9D9D9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FontTx/>
              <a:buNone/>
              <a:defRPr sz="12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Picture Placeholder 5">
            <a:extLst>
              <a:ext uri="{FF2B5EF4-FFF2-40B4-BE49-F238E27FC236}">
                <a16:creationId xmlns:a16="http://schemas.microsoft.com/office/drawing/2014/main" id="{C2AB3B13-24B5-EA40-92B2-665869E4657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140952" y="3429000"/>
            <a:ext cx="3051049" cy="1719072"/>
          </a:xfrm>
          <a:solidFill>
            <a:srgbClr val="BFBFBF"/>
          </a:solidFill>
        </p:spPr>
        <p:txBody>
          <a:bodyPr anchor="ctr" anchorCtr="0">
            <a:normAutofit/>
          </a:bodyPr>
          <a:lstStyle>
            <a:lvl1pPr marL="0" indent="0" algn="ctr">
              <a:buFontTx/>
              <a:buNone/>
              <a:defRPr sz="12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A26BC3F3-33EB-F346-B70E-DE269C6819E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140952" y="5148072"/>
            <a:ext cx="3051049" cy="1709928"/>
          </a:xfrm>
          <a:solidFill>
            <a:srgbClr val="F2F2F2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FontTx/>
              <a:buNone/>
              <a:defRPr sz="12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Slide Number Placeholder 7">
            <a:extLst>
              <a:ext uri="{FF2B5EF4-FFF2-40B4-BE49-F238E27FC236}">
                <a16:creationId xmlns:a16="http://schemas.microsoft.com/office/drawing/2014/main" id="{A7A49372-BC99-44B1-93F3-52B055BA1B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6200" y="6429375"/>
            <a:ext cx="320041" cy="228600"/>
          </a:xfrm>
          <a:prstGeom prst="rect">
            <a:avLst/>
          </a:prstGeom>
        </p:spPr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66410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Picture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12861D7D-0CE3-D447-AB46-E7F0601A9C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760" y="365760"/>
            <a:ext cx="11460480" cy="914400"/>
          </a:xfrm>
        </p:spPr>
        <p:txBody>
          <a:bodyPr/>
          <a:lstStyle/>
          <a:p>
            <a:r>
              <a:rPr lang="en-US"/>
              <a:t>[Slide title]</a:t>
            </a:r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6B9E9C5D-8364-0D47-AF90-417652D3C16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65125" y="1552575"/>
            <a:ext cx="2642617" cy="1737358"/>
          </a:xfrm>
          <a:solidFill>
            <a:srgbClr val="F2F2F2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2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D8A87F8F-2D9A-B243-A5FB-6E555C2704C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65760" y="3474720"/>
            <a:ext cx="2642617" cy="265176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5797D6E4-4FD3-FB41-AC2F-B0BC44660939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301998" y="1552575"/>
            <a:ext cx="2642617" cy="1737358"/>
          </a:xfrm>
          <a:solidFill>
            <a:srgbClr val="F2F2F2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2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A8504504-7E85-584D-A20B-448D0D56BBE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302000" y="3474720"/>
            <a:ext cx="2642617" cy="265176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Picture Placeholder 6">
            <a:extLst>
              <a:ext uri="{FF2B5EF4-FFF2-40B4-BE49-F238E27FC236}">
                <a16:creationId xmlns:a16="http://schemas.microsoft.com/office/drawing/2014/main" id="{8B42205D-9591-3C43-8A71-9811FC49A76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48400" y="1552575"/>
            <a:ext cx="2642617" cy="1737358"/>
          </a:xfrm>
          <a:solidFill>
            <a:srgbClr val="F2F2F2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2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0BC915BB-BDF2-BD44-8C3A-2C34D2A9A63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248400" y="3474720"/>
            <a:ext cx="2642617" cy="265176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Picture Placeholder 8">
            <a:extLst>
              <a:ext uri="{FF2B5EF4-FFF2-40B4-BE49-F238E27FC236}">
                <a16:creationId xmlns:a16="http://schemas.microsoft.com/office/drawing/2014/main" id="{DD93C7F7-3C80-DA48-9BC2-95DD73DF878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183623" y="1552575"/>
            <a:ext cx="2642617" cy="1737358"/>
          </a:xfrm>
          <a:solidFill>
            <a:srgbClr val="F2F2F2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2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0A585D99-3BCE-844A-8969-7E2EFD217B5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182100" y="3474720"/>
            <a:ext cx="2642617" cy="265176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10">
            <a:extLst>
              <a:ext uri="{FF2B5EF4-FFF2-40B4-BE49-F238E27FC236}">
                <a16:creationId xmlns:a16="http://schemas.microsoft.com/office/drawing/2014/main" id="{941E30D8-4EF8-495A-8824-D819A46BF9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6200" y="6429375"/>
            <a:ext cx="320041" cy="228600"/>
          </a:xfrm>
          <a:prstGeom prst="rect">
            <a:avLst/>
          </a:prstGeom>
        </p:spPr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41971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080">
          <p15:clr>
            <a:srgbClr val="FBAE40"/>
          </p15:clr>
        </p15:guide>
        <p15:guide id="2" pos="1897">
          <p15:clr>
            <a:srgbClr val="FBAE40"/>
          </p15:clr>
        </p15:guide>
        <p15:guide id="3" pos="5600">
          <p15:clr>
            <a:srgbClr val="FBAE40"/>
          </p15:clr>
        </p15:guide>
        <p15:guide id="4" pos="5785">
          <p15:clr>
            <a:srgbClr val="FBAE40"/>
          </p15:clr>
        </p15:guide>
        <p15:guide id="5" pos="3744">
          <p15:clr>
            <a:srgbClr val="FBAE40"/>
          </p15:clr>
        </p15:guide>
        <p15:guide id="6" pos="3936">
          <p15:clr>
            <a:srgbClr val="FBAE40"/>
          </p15:clr>
        </p15:guide>
        <p15:guide id="7" orient="horz" pos="2074">
          <p15:clr>
            <a:srgbClr val="FBAE40"/>
          </p15:clr>
        </p15:guide>
        <p15:guide id="8" orient="horz" pos="2188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and On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1">
            <a:extLst>
              <a:ext uri="{FF2B5EF4-FFF2-40B4-BE49-F238E27FC236}">
                <a16:creationId xmlns:a16="http://schemas.microsoft.com/office/drawing/2014/main" id="{3F25E4DD-7BAF-CF43-9AF5-512CC54177D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rgbClr val="F2F2F2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FontTx/>
              <a:buNone/>
              <a:defRPr sz="12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ADC9E62E-3AF4-C24D-8B08-8A7FCB7EDC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[Slide title]</a:t>
            </a:r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EE3D7CA1-C89E-E24C-B557-52A1F9AEBF3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506200" y="6429375"/>
            <a:ext cx="320041" cy="228600"/>
          </a:xfrm>
          <a:prstGeom prst="rect">
            <a:avLst/>
          </a:prstGeom>
        </p:spPr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7964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1">
            <a:extLst>
              <a:ext uri="{FF2B5EF4-FFF2-40B4-BE49-F238E27FC236}">
                <a16:creationId xmlns:a16="http://schemas.microsoft.com/office/drawing/2014/main" id="{3036AABB-FB6C-2340-8AFB-DFFA0E13AE0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758" y="365125"/>
            <a:ext cx="7539993" cy="914400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1pPr>
            <a:lvl2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2pPr>
            <a:lvl3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3pPr>
            <a:lvl4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4pPr>
            <a:lvl5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5pPr>
            <a:lvl6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6pPr>
            <a:lvl7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7pPr>
            <a:lvl8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8pPr>
            <a:lvl9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9pPr>
          </a:lstStyle>
          <a:p>
            <a:r>
              <a:rPr lang="en-US"/>
              <a:t>[Optional section subtitle/lead-in]</a:t>
            </a: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42A20B57-9C1D-4E8F-B2A3-A6062F929C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126" y="1554480"/>
            <a:ext cx="7540372" cy="2743200"/>
          </a:xfrm>
        </p:spPr>
        <p:txBody>
          <a:bodyPr anchor="t" anchorCtr="0"/>
          <a:lstStyle>
            <a:lvl1pPr>
              <a:defRPr sz="6000" b="0" spc="0" baseline="0"/>
            </a:lvl1pPr>
          </a:lstStyle>
          <a:p>
            <a:r>
              <a:rPr lang="en-US"/>
              <a:t>[Section title]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FDB1BE67-4AA2-4F98-8F15-39B4F53A13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6200" y="6429375"/>
            <a:ext cx="320041" cy="228600"/>
          </a:xfrm>
          <a:prstGeom prst="rect">
            <a:avLst/>
          </a:prstGeom>
        </p:spPr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0587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498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Amber">
    <p:bg>
      <p:bgPr>
        <a:gradFill>
          <a:gsLst>
            <a:gs pos="0">
              <a:srgbClr val="FFFBF4"/>
            </a:gs>
            <a:gs pos="100000">
              <a:srgbClr val="FFECCD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1">
            <a:extLst>
              <a:ext uri="{FF2B5EF4-FFF2-40B4-BE49-F238E27FC236}">
                <a16:creationId xmlns:a16="http://schemas.microsoft.com/office/drawing/2014/main" id="{3036AABB-FB6C-2340-8AFB-DFFA0E13AE0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758" y="365125"/>
            <a:ext cx="7539993" cy="914400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1pPr>
            <a:lvl2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2pPr>
            <a:lvl3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3pPr>
            <a:lvl4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4pPr>
            <a:lvl5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5pPr>
            <a:lvl6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6pPr>
            <a:lvl7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7pPr>
            <a:lvl8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8pPr>
            <a:lvl9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9pPr>
          </a:lstStyle>
          <a:p>
            <a:r>
              <a:rPr lang="en-US"/>
              <a:t>[Optional section subtitle/lead-in]</a:t>
            </a: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42A20B57-9C1D-4E8F-B2A3-A6062F929C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126" y="1554480"/>
            <a:ext cx="7540372" cy="2743200"/>
          </a:xfrm>
        </p:spPr>
        <p:txBody>
          <a:bodyPr anchor="t" anchorCtr="0"/>
          <a:lstStyle>
            <a:lvl1pPr>
              <a:defRPr sz="6000" b="0" spc="0" baseline="0"/>
            </a:lvl1pPr>
          </a:lstStyle>
          <a:p>
            <a:r>
              <a:rPr lang="en-US"/>
              <a:t>[Section title]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FDB1BE67-4AA2-4F98-8F15-39B4F53A13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6200" y="6429375"/>
            <a:ext cx="320041" cy="228600"/>
          </a:xfrm>
          <a:prstGeom prst="rect">
            <a:avLst/>
          </a:prstGeom>
        </p:spPr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1913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498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Peach">
    <p:bg>
      <p:bgPr>
        <a:gradFill>
          <a:gsLst>
            <a:gs pos="0">
              <a:srgbClr val="FFF7F3"/>
            </a:gs>
            <a:gs pos="100000">
              <a:srgbClr val="FEDCCA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1">
            <a:extLst>
              <a:ext uri="{FF2B5EF4-FFF2-40B4-BE49-F238E27FC236}">
                <a16:creationId xmlns:a16="http://schemas.microsoft.com/office/drawing/2014/main" id="{3036AABB-FB6C-2340-8AFB-DFFA0E13AE0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758" y="365125"/>
            <a:ext cx="7539993" cy="914400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1pPr>
            <a:lvl2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2pPr>
            <a:lvl3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3pPr>
            <a:lvl4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4pPr>
            <a:lvl5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5pPr>
            <a:lvl6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6pPr>
            <a:lvl7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7pPr>
            <a:lvl8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8pPr>
            <a:lvl9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9pPr>
          </a:lstStyle>
          <a:p>
            <a:r>
              <a:rPr lang="en-US"/>
              <a:t>[Optional section subtitle/lead-in]</a:t>
            </a: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42A20B57-9C1D-4E8F-B2A3-A6062F929C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126" y="1554480"/>
            <a:ext cx="7540372" cy="2743200"/>
          </a:xfrm>
        </p:spPr>
        <p:txBody>
          <a:bodyPr anchor="t" anchorCtr="0"/>
          <a:lstStyle>
            <a:lvl1pPr>
              <a:defRPr sz="6000" b="0" spc="0" baseline="0"/>
            </a:lvl1pPr>
          </a:lstStyle>
          <a:p>
            <a:r>
              <a:rPr lang="en-US"/>
              <a:t>[Section title]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FDB1BE67-4AA2-4F98-8F15-39B4F53A13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6200" y="6429375"/>
            <a:ext cx="320041" cy="228600"/>
          </a:xfrm>
          <a:prstGeom prst="rect">
            <a:avLst/>
          </a:prstGeom>
        </p:spPr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3496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498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Olive">
    <p:bg>
      <p:bgPr>
        <a:gradFill>
          <a:gsLst>
            <a:gs pos="0">
              <a:srgbClr val="FAF6F3"/>
            </a:gs>
            <a:gs pos="100000">
              <a:srgbClr val="EAD5C9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1">
            <a:extLst>
              <a:ext uri="{FF2B5EF4-FFF2-40B4-BE49-F238E27FC236}">
                <a16:creationId xmlns:a16="http://schemas.microsoft.com/office/drawing/2014/main" id="{3036AABB-FB6C-2340-8AFB-DFFA0E13AE0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758" y="365125"/>
            <a:ext cx="7539993" cy="914400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1pPr>
            <a:lvl2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2pPr>
            <a:lvl3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3pPr>
            <a:lvl4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4pPr>
            <a:lvl5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5pPr>
            <a:lvl6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6pPr>
            <a:lvl7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7pPr>
            <a:lvl8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8pPr>
            <a:lvl9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9pPr>
          </a:lstStyle>
          <a:p>
            <a:r>
              <a:rPr lang="en-US"/>
              <a:t>[Optional section subtitle/lead-in]</a:t>
            </a: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42A20B57-9C1D-4E8F-B2A3-A6062F929C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126" y="1554480"/>
            <a:ext cx="7540372" cy="2743200"/>
          </a:xfrm>
        </p:spPr>
        <p:txBody>
          <a:bodyPr anchor="t" anchorCtr="0"/>
          <a:lstStyle>
            <a:lvl1pPr>
              <a:defRPr sz="6000" b="0" spc="0" baseline="0"/>
            </a:lvl1pPr>
          </a:lstStyle>
          <a:p>
            <a:r>
              <a:rPr lang="en-US"/>
              <a:t>[Section title]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FDB1BE67-4AA2-4F98-8F15-39B4F53A13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6200" y="6429375"/>
            <a:ext cx="320041" cy="228600"/>
          </a:xfrm>
          <a:prstGeom prst="rect">
            <a:avLst/>
          </a:prstGeom>
        </p:spPr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7456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498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77D43C-8061-4F4B-A58C-537B44EA7F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BCB52D-820B-4886-993D-F1BD3CE0A1BF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 rIns="0" numCol="2" spcCol="301752"/>
          <a:lstStyle>
            <a:lvl1pPr marL="411486" indent="-411486">
              <a:buFont typeface="+mj-lt"/>
              <a:buAutoNum type="arabicPeriod"/>
              <a:tabLst/>
              <a:defRPr/>
            </a:lvl1pPr>
            <a:lvl2pPr marL="640088" indent="-228604">
              <a:tabLst/>
              <a:defRPr/>
            </a:lvl2pPr>
            <a:lvl3pPr marL="868692" indent="-228604">
              <a:tabLst/>
              <a:defRPr/>
            </a:lvl3pPr>
            <a:lvl4pPr marL="1097294" indent="-228604">
              <a:tabLst/>
              <a:defRPr/>
            </a:lvl4pPr>
            <a:lvl5pPr marL="1325897" indent="-228604">
              <a:tabLst/>
              <a:defRPr/>
            </a:lvl5pPr>
            <a:lvl6pPr marL="1554499" indent="-228604">
              <a:tabLst/>
              <a:defRPr/>
            </a:lvl6pPr>
            <a:lvl7pPr marL="1783103" indent="-228604">
              <a:tabLst/>
              <a:defRPr/>
            </a:lvl7pPr>
            <a:lvl8pPr marL="2011705" indent="-228604">
              <a:tabLst/>
              <a:defRPr/>
            </a:lvl8pPr>
            <a:lvl9pPr marL="2240309" indent="-228604">
              <a:tabLst/>
              <a:defRPr/>
            </a:lvl9pPr>
          </a:lstStyle>
          <a:p>
            <a:pPr lvl="0"/>
            <a:r>
              <a:rPr lang="en-US"/>
              <a:t>[Agenda item]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A7A49372-BC99-44B1-93F3-52B055BA1B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6200" y="6429375"/>
            <a:ext cx="320041" cy="228600"/>
          </a:xfrm>
          <a:prstGeom prst="rect">
            <a:avLst/>
          </a:prstGeom>
        </p:spPr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543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744">
          <p15:clr>
            <a:srgbClr val="FBAE40"/>
          </p15:clr>
        </p15:guide>
        <p15:guide id="2" pos="3936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Almond">
    <p:bg>
      <p:bgPr>
        <a:gradFill>
          <a:gsLst>
            <a:gs pos="0">
              <a:srgbClr val="F8F3F1"/>
            </a:gs>
            <a:gs pos="100000">
              <a:srgbClr val="DFCBC3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1">
            <a:extLst>
              <a:ext uri="{FF2B5EF4-FFF2-40B4-BE49-F238E27FC236}">
                <a16:creationId xmlns:a16="http://schemas.microsoft.com/office/drawing/2014/main" id="{3036AABB-FB6C-2340-8AFB-DFFA0E13AE0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758" y="365125"/>
            <a:ext cx="7539993" cy="914400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1pPr>
            <a:lvl2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2pPr>
            <a:lvl3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3pPr>
            <a:lvl4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4pPr>
            <a:lvl5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5pPr>
            <a:lvl6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6pPr>
            <a:lvl7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7pPr>
            <a:lvl8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8pPr>
            <a:lvl9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9pPr>
          </a:lstStyle>
          <a:p>
            <a:r>
              <a:rPr lang="en-US"/>
              <a:t>[Optional section subtitle/lead-in]</a:t>
            </a: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42A20B57-9C1D-4E8F-B2A3-A6062F929C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126" y="1554480"/>
            <a:ext cx="7540372" cy="2743200"/>
          </a:xfrm>
        </p:spPr>
        <p:txBody>
          <a:bodyPr anchor="t" anchorCtr="0"/>
          <a:lstStyle>
            <a:lvl1pPr>
              <a:defRPr sz="6000" b="0" spc="0" baseline="0"/>
            </a:lvl1pPr>
          </a:lstStyle>
          <a:p>
            <a:r>
              <a:rPr lang="en-US"/>
              <a:t>[Section title]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FDB1BE67-4AA2-4F98-8F15-39B4F53A13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6200" y="6429375"/>
            <a:ext cx="320041" cy="228600"/>
          </a:xfrm>
          <a:prstGeom prst="rect">
            <a:avLst/>
          </a:prstGeom>
        </p:spPr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447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498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Sienna">
    <p:bg>
      <p:bgPr>
        <a:gradFill>
          <a:gsLst>
            <a:gs pos="0">
              <a:srgbClr val="F5F0F0"/>
            </a:gs>
            <a:gs pos="100000">
              <a:srgbClr val="DAC5C5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1">
            <a:extLst>
              <a:ext uri="{FF2B5EF4-FFF2-40B4-BE49-F238E27FC236}">
                <a16:creationId xmlns:a16="http://schemas.microsoft.com/office/drawing/2014/main" id="{3036AABB-FB6C-2340-8AFB-DFFA0E13AE0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758" y="365125"/>
            <a:ext cx="7539993" cy="914400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1pPr>
            <a:lvl2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2pPr>
            <a:lvl3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3pPr>
            <a:lvl4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4pPr>
            <a:lvl5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5pPr>
            <a:lvl6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6pPr>
            <a:lvl7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7pPr>
            <a:lvl8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8pPr>
            <a:lvl9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9pPr>
          </a:lstStyle>
          <a:p>
            <a:r>
              <a:rPr lang="en-US"/>
              <a:t>[Optional section subtitle/lead-in]</a:t>
            </a: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42A20B57-9C1D-4E8F-B2A3-A6062F929C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126" y="1554480"/>
            <a:ext cx="7540372" cy="2743200"/>
          </a:xfrm>
        </p:spPr>
        <p:txBody>
          <a:bodyPr anchor="t" anchorCtr="0"/>
          <a:lstStyle>
            <a:lvl1pPr>
              <a:defRPr sz="6000" b="0" spc="0" baseline="0"/>
            </a:lvl1pPr>
          </a:lstStyle>
          <a:p>
            <a:r>
              <a:rPr lang="en-US"/>
              <a:t>[Section title]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FDB1BE67-4AA2-4F98-8F15-39B4F53A13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6200" y="6429375"/>
            <a:ext cx="320041" cy="228600"/>
          </a:xfrm>
          <a:prstGeom prst="rect">
            <a:avLst/>
          </a:prstGeom>
        </p:spPr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9873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498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Chocolate">
    <p:bg>
      <p:bgPr>
        <a:gradFill>
          <a:gsLst>
            <a:gs pos="0">
              <a:srgbClr val="F6F4F3"/>
            </a:gs>
            <a:gs pos="100000">
              <a:srgbClr val="D2CAC8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1">
            <a:extLst>
              <a:ext uri="{FF2B5EF4-FFF2-40B4-BE49-F238E27FC236}">
                <a16:creationId xmlns:a16="http://schemas.microsoft.com/office/drawing/2014/main" id="{3036AABB-FB6C-2340-8AFB-DFFA0E13AE0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758" y="365125"/>
            <a:ext cx="7539993" cy="914400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1pPr>
            <a:lvl2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2pPr>
            <a:lvl3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3pPr>
            <a:lvl4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4pPr>
            <a:lvl5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5pPr>
            <a:lvl6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6pPr>
            <a:lvl7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7pPr>
            <a:lvl8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8pPr>
            <a:lvl9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9pPr>
          </a:lstStyle>
          <a:p>
            <a:r>
              <a:rPr lang="en-US"/>
              <a:t>[Optional section subtitle/lead-in]</a:t>
            </a: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42A20B57-9C1D-4E8F-B2A3-A6062F929C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126" y="1554480"/>
            <a:ext cx="7540372" cy="2743200"/>
          </a:xfrm>
        </p:spPr>
        <p:txBody>
          <a:bodyPr anchor="t" anchorCtr="0"/>
          <a:lstStyle>
            <a:lvl1pPr>
              <a:defRPr sz="6000" b="0" spc="0" baseline="0"/>
            </a:lvl1pPr>
          </a:lstStyle>
          <a:p>
            <a:r>
              <a:rPr lang="en-US"/>
              <a:t>[Section title]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FDB1BE67-4AA2-4F98-8F15-39B4F53A13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6200" y="6429375"/>
            <a:ext cx="320041" cy="228600"/>
          </a:xfrm>
          <a:prstGeom prst="rect">
            <a:avLst/>
          </a:prstGeom>
        </p:spPr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2532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498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Mint">
    <p:bg>
      <p:bgPr>
        <a:gradFill>
          <a:gsLst>
            <a:gs pos="0">
              <a:srgbClr val="F2FFF9"/>
            </a:gs>
            <a:gs pos="100000">
              <a:srgbClr val="C5FFE6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1">
            <a:extLst>
              <a:ext uri="{FF2B5EF4-FFF2-40B4-BE49-F238E27FC236}">
                <a16:creationId xmlns:a16="http://schemas.microsoft.com/office/drawing/2014/main" id="{3036AABB-FB6C-2340-8AFB-DFFA0E13AE0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758" y="365125"/>
            <a:ext cx="7539993" cy="914400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1pPr>
            <a:lvl2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2pPr>
            <a:lvl3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3pPr>
            <a:lvl4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4pPr>
            <a:lvl5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5pPr>
            <a:lvl6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6pPr>
            <a:lvl7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7pPr>
            <a:lvl8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8pPr>
            <a:lvl9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9pPr>
          </a:lstStyle>
          <a:p>
            <a:r>
              <a:rPr lang="en-US"/>
              <a:t>[Optional section subtitle/lead-in]</a:t>
            </a: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42A20B57-9C1D-4E8F-B2A3-A6062F929C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126" y="1554480"/>
            <a:ext cx="7540372" cy="2743200"/>
          </a:xfrm>
        </p:spPr>
        <p:txBody>
          <a:bodyPr anchor="t" anchorCtr="0"/>
          <a:lstStyle>
            <a:lvl1pPr>
              <a:defRPr sz="6000" b="0" spc="0" baseline="0"/>
            </a:lvl1pPr>
          </a:lstStyle>
          <a:p>
            <a:r>
              <a:rPr lang="en-US"/>
              <a:t>[Section title]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FDB1BE67-4AA2-4F98-8F15-39B4F53A13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6200" y="6429375"/>
            <a:ext cx="320041" cy="228600"/>
          </a:xfrm>
          <a:prstGeom prst="rect">
            <a:avLst/>
          </a:prstGeom>
        </p:spPr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8670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498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Aqua">
    <p:bg>
      <p:bgPr>
        <a:gradFill>
          <a:gsLst>
            <a:gs pos="0">
              <a:srgbClr val="EFFCFE"/>
            </a:gs>
            <a:gs pos="100000">
              <a:srgbClr val="C0F2FB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1">
            <a:extLst>
              <a:ext uri="{FF2B5EF4-FFF2-40B4-BE49-F238E27FC236}">
                <a16:creationId xmlns:a16="http://schemas.microsoft.com/office/drawing/2014/main" id="{3036AABB-FB6C-2340-8AFB-DFFA0E13AE0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758" y="365125"/>
            <a:ext cx="7539993" cy="914400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1pPr>
            <a:lvl2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2pPr>
            <a:lvl3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3pPr>
            <a:lvl4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4pPr>
            <a:lvl5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5pPr>
            <a:lvl6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6pPr>
            <a:lvl7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7pPr>
            <a:lvl8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8pPr>
            <a:lvl9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9pPr>
          </a:lstStyle>
          <a:p>
            <a:r>
              <a:rPr lang="en-US"/>
              <a:t>[Optional section subtitle/lead-in]</a:t>
            </a: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42A20B57-9C1D-4E8F-B2A3-A6062F929C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126" y="1554480"/>
            <a:ext cx="7540372" cy="2743200"/>
          </a:xfrm>
        </p:spPr>
        <p:txBody>
          <a:bodyPr anchor="t" anchorCtr="0"/>
          <a:lstStyle>
            <a:lvl1pPr>
              <a:defRPr sz="6000" b="0" spc="0" baseline="0"/>
            </a:lvl1pPr>
          </a:lstStyle>
          <a:p>
            <a:r>
              <a:rPr lang="en-US"/>
              <a:t>[Section title]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FDB1BE67-4AA2-4F98-8F15-39B4F53A13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6200" y="6429375"/>
            <a:ext cx="320041" cy="228600"/>
          </a:xfrm>
          <a:prstGeom prst="rect">
            <a:avLst/>
          </a:prstGeom>
        </p:spPr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23014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498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Light Gray">
    <p:bg>
      <p:bgPr>
        <a:solidFill>
          <a:srgbClr val="EE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1">
            <a:extLst>
              <a:ext uri="{FF2B5EF4-FFF2-40B4-BE49-F238E27FC236}">
                <a16:creationId xmlns:a16="http://schemas.microsoft.com/office/drawing/2014/main" id="{3036AABB-FB6C-2340-8AFB-DFFA0E13AE0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758" y="365125"/>
            <a:ext cx="7539993" cy="914400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1pPr>
            <a:lvl2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2pPr>
            <a:lvl3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3pPr>
            <a:lvl4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4pPr>
            <a:lvl5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5pPr>
            <a:lvl6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6pPr>
            <a:lvl7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7pPr>
            <a:lvl8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8pPr>
            <a:lvl9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9pPr>
          </a:lstStyle>
          <a:p>
            <a:r>
              <a:rPr lang="en-US"/>
              <a:t>[Optional section subtitle/lead-in]</a:t>
            </a: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42A20B57-9C1D-4E8F-B2A3-A6062F929C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126" y="1554480"/>
            <a:ext cx="7540372" cy="2743200"/>
          </a:xfrm>
        </p:spPr>
        <p:txBody>
          <a:bodyPr anchor="t" anchorCtr="0"/>
          <a:lstStyle>
            <a:lvl1pPr>
              <a:defRPr sz="6000" b="0" spc="0" baseline="0"/>
            </a:lvl1pPr>
          </a:lstStyle>
          <a:p>
            <a:r>
              <a:rPr lang="en-US"/>
              <a:t>[Section title]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FDB1BE67-4AA2-4F98-8F15-39B4F53A13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6200" y="6429375"/>
            <a:ext cx="320041" cy="228600"/>
          </a:xfrm>
          <a:prstGeom prst="rect">
            <a:avLst/>
          </a:prstGeom>
        </p:spPr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5072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498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00D8B1-1581-4488-A1A4-886D01EEFD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6CF9CDAC-EC28-4BA6-9827-D58133E188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6200" y="6429375"/>
            <a:ext cx="320041" cy="228600"/>
          </a:xfrm>
          <a:prstGeom prst="rect">
            <a:avLst/>
          </a:prstGeom>
        </p:spPr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2017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1">
            <a:extLst>
              <a:ext uri="{FF2B5EF4-FFF2-40B4-BE49-F238E27FC236}">
                <a16:creationId xmlns:a16="http://schemas.microsoft.com/office/drawing/2014/main" id="{45BF3E53-7A3D-40D5-AE68-3CE44909F1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6200" y="6429375"/>
            <a:ext cx="320041" cy="228600"/>
          </a:xfrm>
          <a:prstGeom prst="rect">
            <a:avLst/>
          </a:prstGeom>
        </p:spPr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6506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ristol Myers Squibb" descr="Bristol Myers Squibb">
            <a:extLst>
              <a:ext uri="{FF2B5EF4-FFF2-40B4-BE49-F238E27FC236}">
                <a16:creationId xmlns:a16="http://schemas.microsoft.com/office/drawing/2014/main" id="{B50985CD-7333-F343-85B8-C4893E81FC9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black">
          <a:xfrm>
            <a:off x="1645920" y="2194560"/>
            <a:ext cx="9056907" cy="22860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464018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ristol Myers Squibb" descr="Bristol Myers Squibb">
            <a:extLst>
              <a:ext uri="{FF2B5EF4-FFF2-40B4-BE49-F238E27FC236}">
                <a16:creationId xmlns:a16="http://schemas.microsoft.com/office/drawing/2014/main" id="{91000A19-9025-2C4A-9321-625720905BF5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50688" y="5913096"/>
            <a:ext cx="3260484" cy="822960"/>
          </a:xfrm>
          <a:prstGeom prst="rect">
            <a:avLst/>
          </a:prstGeom>
          <a:noFill/>
        </p:spPr>
      </p:pic>
      <p:sp>
        <p:nvSpPr>
          <p:cNvPr id="8" name="Thank You">
            <a:extLst>
              <a:ext uri="{FF2B5EF4-FFF2-40B4-BE49-F238E27FC236}">
                <a16:creationId xmlns:a16="http://schemas.microsoft.com/office/drawing/2014/main" id="{2DF7BC51-D766-5D44-8D23-2A1F0BF208B3}"/>
              </a:ext>
            </a:extLst>
          </p:cNvPr>
          <p:cNvSpPr txBox="1">
            <a:spLocks/>
          </p:cNvSpPr>
          <p:nvPr/>
        </p:nvSpPr>
        <p:spPr>
          <a:xfrm>
            <a:off x="365760" y="1554480"/>
            <a:ext cx="7543164" cy="18288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0" kern="1200" spc="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6000"/>
              <a:t>Thank you</a:t>
            </a:r>
          </a:p>
        </p:txBody>
      </p:sp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03D75AF2-C99D-9247-B7AF-B859D95DB41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5760" y="4434840"/>
            <a:ext cx="7543164" cy="13716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  <a:lvl6pPr marL="0" indent="0">
              <a:spcBef>
                <a:spcPts val="0"/>
              </a:spcBef>
              <a:buNone/>
              <a:defRPr/>
            </a:lvl6pPr>
            <a:lvl7pPr marL="0" indent="0">
              <a:spcBef>
                <a:spcPts val="0"/>
              </a:spcBef>
              <a:buNone/>
              <a:defRPr/>
            </a:lvl7pPr>
            <a:lvl8pPr marL="0" indent="0">
              <a:spcBef>
                <a:spcPts val="0"/>
              </a:spcBef>
              <a:buNone/>
              <a:defRPr/>
            </a:lvl8pPr>
            <a:lvl9pPr marL="0" indent="0">
              <a:spcBef>
                <a:spcPts val="0"/>
              </a:spcBef>
              <a:buNone/>
              <a:defRPr/>
            </a:lvl9pPr>
          </a:lstStyle>
          <a:p>
            <a:pPr lvl="0"/>
            <a:r>
              <a:rPr lang="en-US"/>
              <a:t>[Optional contact information]</a:t>
            </a:r>
          </a:p>
        </p:txBody>
      </p:sp>
    </p:spTree>
    <p:extLst>
      <p:ext uri="{BB962C8B-B14F-4D97-AF65-F5344CB8AC3E}">
        <p14:creationId xmlns:p14="http://schemas.microsoft.com/office/powerpoint/2010/main" val="2400202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498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77D43C-8061-4F4B-A58C-537B44EA7F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BCB52D-820B-4886-993D-F1BD3CE0A1B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A7A49372-BC99-44B1-93F3-52B055BA1B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6200" y="6429375"/>
            <a:ext cx="320041" cy="228600"/>
          </a:xfrm>
          <a:prstGeom prst="rect">
            <a:avLst/>
          </a:prstGeom>
        </p:spPr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62796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A3A2556-C200-46D7-9EAA-185740B2CD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266493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A3A2556-C200-46D7-9EAA-185740B2CD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3CC47E5-102D-4BC3-9516-C33298F5E60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rgbClr val="000000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0000"/>
              </a:lnSpc>
            </a:pPr>
            <a:endParaRPr lang="en-US" sz="3199" b="1" i="0" baseline="0"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C58F0A5-4772-43B4-9650-08E926F6537D}"/>
              </a:ext>
            </a:extLst>
          </p:cNvPr>
          <p:cNvSpPr/>
          <p:nvPr userDrawn="1"/>
        </p:nvSpPr>
        <p:spPr>
          <a:xfrm>
            <a:off x="-1" y="0"/>
            <a:ext cx="6099048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rgbClr val="000000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200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C697F1A-3F13-4FA1-8ACE-B629D70B6E5B}"/>
              </a:ext>
            </a:extLst>
          </p:cNvPr>
          <p:cNvSpPr/>
          <p:nvPr userDrawn="1"/>
        </p:nvSpPr>
        <p:spPr>
          <a:xfrm>
            <a:off x="6092952" y="0"/>
            <a:ext cx="609904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rgbClr val="000000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20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577D43C-8061-4F4B-A58C-537B44EA7F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BCB52D-820B-4886-993D-F1BD3CE0A1B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A7A49372-BC99-44B1-93F3-52B055BA1B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6200" y="6429375"/>
            <a:ext cx="320040" cy="228600"/>
          </a:xfrm>
          <a:prstGeom prst="rect">
            <a:avLst/>
          </a:prstGeom>
        </p:spPr>
        <p:txBody>
          <a:bodyPr/>
          <a:lstStyle/>
          <a:p>
            <a:fld id="{B58DE5F1-E0F9-4CCA-92B7-7A6FC4DFEE14}" type="slidenum">
              <a:rPr lang="en-US" smtClean="0"/>
              <a:t>‹#›</a:t>
            </a:fld>
            <a:endParaRPr lang="en-US"/>
          </a:p>
        </p:txBody>
      </p:sp>
      <p:cxnSp>
        <p:nvCxnSpPr>
          <p:cNvPr id="8" name="Line">
            <a:extLst>
              <a:ext uri="{FF2B5EF4-FFF2-40B4-BE49-F238E27FC236}">
                <a16:creationId xmlns:a16="http://schemas.microsoft.com/office/drawing/2014/main" id="{9EC3B4BF-E1A3-41B4-B0C9-6FD0FE61F4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 bwMode="black">
          <a:xfrm>
            <a:off x="365760" y="6355080"/>
            <a:ext cx="11460481" cy="0"/>
          </a:xfrm>
          <a:prstGeom prst="line">
            <a:avLst/>
          </a:prstGeom>
          <a:ln w="6350" cap="rnd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rgbClr val="000000"/>
          </a:effectRef>
          <a:fontRef idx="minor">
            <a:schemeClr val="lt1"/>
          </a:fontRef>
        </p:style>
      </p:cxnSp>
      <p:sp>
        <p:nvSpPr>
          <p:cNvPr id="9" name="Disclaimer">
            <a:extLst>
              <a:ext uri="{FF2B5EF4-FFF2-40B4-BE49-F238E27FC236}">
                <a16:creationId xmlns:a16="http://schemas.microsoft.com/office/drawing/2014/main" id="{54160055-887D-4831-9CB5-36B19F83A994}"/>
              </a:ext>
            </a:extLst>
          </p:cNvPr>
          <p:cNvSpPr txBox="1"/>
          <p:nvPr userDrawn="1"/>
        </p:nvSpPr>
        <p:spPr>
          <a:xfrm>
            <a:off x="8205216" y="6429375"/>
            <a:ext cx="3209544" cy="228600"/>
          </a:xfrm>
          <a:prstGeom prst="rect">
            <a:avLst/>
          </a:prstGeom>
          <a:noFill/>
        </p:spPr>
        <p:txBody>
          <a:bodyPr wrap="square" lIns="0" tIns="0" rIns="0" bIns="9142" rtlCol="0" anchor="b" anchorCtr="0">
            <a:noAutofit/>
          </a:bodyPr>
          <a:lstStyle/>
          <a:p>
            <a:pPr marL="0" indent="0" algn="r">
              <a:lnSpc>
                <a:spcPct val="100000"/>
              </a:lnSpc>
              <a:spcBef>
                <a:spcPts val="0"/>
              </a:spcBef>
              <a:buSzPct val="100000"/>
              <a:buFontTx/>
              <a:buNone/>
            </a:pPr>
            <a:r>
              <a:rPr lang="en-US" sz="800" b="0"/>
              <a:t>Highly Confidential</a:t>
            </a:r>
          </a:p>
        </p:txBody>
      </p:sp>
      <p:pic>
        <p:nvPicPr>
          <p:cNvPr id="11" name="Bristol Myers Squibb" descr="Bristol Myers Squibb">
            <a:extLst>
              <a:ext uri="{FF2B5EF4-FFF2-40B4-BE49-F238E27FC236}">
                <a16:creationId xmlns:a16="http://schemas.microsoft.com/office/drawing/2014/main" id="{20DB046D-EBDE-4683-A76F-5CAB63266C2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 bwMode="black">
          <a:xfrm>
            <a:off x="258318" y="6355082"/>
            <a:ext cx="1627632" cy="410821"/>
          </a:xfrm>
          <a:prstGeom prst="rect">
            <a:avLst/>
          </a:prstGeom>
          <a:noFill/>
        </p:spPr>
      </p:pic>
      <p:grpSp>
        <p:nvGrpSpPr>
          <p:cNvPr id="12" name="Group">
            <a:extLst>
              <a:ext uri="{FF2B5EF4-FFF2-40B4-BE49-F238E27FC236}">
                <a16:creationId xmlns:a16="http://schemas.microsoft.com/office/drawing/2014/main" id="{737D713A-0EDD-4820-8B4D-844024B7D3D1}"/>
              </a:ext>
            </a:extLst>
          </p:cNvPr>
          <p:cNvGrpSpPr/>
          <p:nvPr userDrawn="1"/>
        </p:nvGrpSpPr>
        <p:grpSpPr>
          <a:xfrm>
            <a:off x="1874520" y="6458891"/>
            <a:ext cx="3919729" cy="231734"/>
            <a:chOff x="1874520" y="6458891"/>
            <a:chExt cx="3919729" cy="231734"/>
          </a:xfrm>
        </p:grpSpPr>
        <p:cxnSp>
          <p:nvCxnSpPr>
            <p:cNvPr id="13" name="Line">
              <a:extLst>
                <a:ext uri="{FF2B5EF4-FFF2-40B4-BE49-F238E27FC236}">
                  <a16:creationId xmlns:a16="http://schemas.microsoft.com/office/drawing/2014/main" id="{F77273D6-302E-47EA-8186-0D4EBDAC24D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 userDrawn="1"/>
          </p:nvCxnSpPr>
          <p:spPr bwMode="black">
            <a:xfrm>
              <a:off x="1874520" y="6458891"/>
              <a:ext cx="0" cy="228600"/>
            </a:xfrm>
            <a:prstGeom prst="line">
              <a:avLst/>
            </a:prstGeom>
            <a:ln w="6350" cap="rnd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rgbClr val="000000"/>
            </a:effectRef>
            <a:fontRef idx="minor">
              <a:schemeClr val="lt1"/>
            </a:fontRef>
          </p:style>
        </p:cxnSp>
        <p:sp>
          <p:nvSpPr>
            <p:cNvPr id="14" name="Division/Therapeutic Area">
              <a:extLst>
                <a:ext uri="{FF2B5EF4-FFF2-40B4-BE49-F238E27FC236}">
                  <a16:creationId xmlns:a16="http://schemas.microsoft.com/office/drawing/2014/main" id="{3481F9F1-0F80-4994-9C2F-83B1C41C1D1B}"/>
                </a:ext>
              </a:extLst>
            </p:cNvPr>
            <p:cNvSpPr txBox="1"/>
            <p:nvPr userDrawn="1"/>
          </p:nvSpPr>
          <p:spPr>
            <a:xfrm>
              <a:off x="2011680" y="6462065"/>
              <a:ext cx="3782569" cy="228560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noAutofit/>
            </a:bodyPr>
            <a:lstStyle/>
            <a:p>
              <a:pPr marL="0" indent="0" algn="l">
                <a:lnSpc>
                  <a:spcPct val="100000"/>
                </a:lnSpc>
                <a:spcBef>
                  <a:spcPts val="0"/>
                </a:spcBef>
                <a:buSzPct val="100000"/>
                <a:buFontTx/>
                <a:buNone/>
              </a:pPr>
              <a:r>
                <a:rPr lang="en-US" sz="1100" b="0">
                  <a:solidFill>
                    <a:schemeClr val="tx1"/>
                  </a:solidFill>
                </a:rPr>
                <a:t>Global Biometrics and Data Sciences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009865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">
            <a:extLst>
              <a:ext uri="{FF2B5EF4-FFF2-40B4-BE49-F238E27FC236}">
                <a16:creationId xmlns:a16="http://schemas.microsoft.com/office/drawing/2014/main" id="{692E5CDC-3F8F-AF4C-BDBB-F6335CB85FE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5761" y="365760"/>
            <a:ext cx="7543165" cy="457200"/>
          </a:xfrm>
        </p:spPr>
        <p:txBody>
          <a:bodyPr/>
          <a:lstStyle>
            <a:lvl1pPr marL="0" marR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Trebuchet MS" panose="020B0603020202020204" pitchFamily="34" charset="0"/>
              <a:buNone/>
              <a:tabLst/>
              <a:defRPr b="1"/>
            </a:lvl1pPr>
            <a:lvl2pPr marL="0" indent="0">
              <a:spcBef>
                <a:spcPts val="0"/>
              </a:spcBef>
              <a:buNone/>
              <a:defRPr b="1"/>
            </a:lvl2pPr>
            <a:lvl3pPr marL="0" indent="0">
              <a:spcBef>
                <a:spcPts val="0"/>
              </a:spcBef>
              <a:buNone/>
              <a:defRPr b="1"/>
            </a:lvl3pPr>
            <a:lvl4pPr marL="0" indent="0">
              <a:spcBef>
                <a:spcPts val="0"/>
              </a:spcBef>
              <a:buNone/>
              <a:defRPr b="1"/>
            </a:lvl4pPr>
            <a:lvl5pPr marL="0" indent="0">
              <a:spcBef>
                <a:spcPts val="0"/>
              </a:spcBef>
              <a:buNone/>
              <a:defRPr b="1"/>
            </a:lvl5pPr>
            <a:lvl6pPr marL="0" indent="0">
              <a:spcBef>
                <a:spcPts val="0"/>
              </a:spcBef>
              <a:buNone/>
              <a:defRPr b="1"/>
            </a:lvl6pPr>
            <a:lvl7pPr marL="0" indent="0">
              <a:spcBef>
                <a:spcPts val="0"/>
              </a:spcBef>
              <a:buNone/>
              <a:defRPr b="1"/>
            </a:lvl7pPr>
            <a:lvl8pPr marL="0" indent="0">
              <a:spcBef>
                <a:spcPts val="0"/>
              </a:spcBef>
              <a:buNone/>
              <a:defRPr b="1"/>
            </a:lvl8pPr>
            <a:lvl9pPr marL="0" indent="0">
              <a:spcBef>
                <a:spcPts val="0"/>
              </a:spcBef>
              <a:buNone/>
              <a:defRPr b="1"/>
            </a:lvl9pPr>
          </a:lstStyle>
          <a:p>
            <a:pPr lvl="0"/>
            <a:r>
              <a:rPr lang="en-US"/>
              <a:t>Division/Therapeutic Area [Edit here]</a:t>
            </a: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DD93F370-0603-42F8-A7D8-E3390EE70687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365761" y="1554480"/>
            <a:ext cx="7543165" cy="2560320"/>
          </a:xfrm>
        </p:spPr>
        <p:txBody>
          <a:bodyPr anchor="t" anchorCtr="0"/>
          <a:lstStyle>
            <a:lvl1pPr algn="l">
              <a:defRPr sz="5998" b="0" spc="0" baseline="0"/>
            </a:lvl1pPr>
          </a:lstStyle>
          <a:p>
            <a:r>
              <a:rPr lang="en-US"/>
              <a:t>[Presentation title]</a:t>
            </a:r>
          </a:p>
        </p:txBody>
      </p:sp>
      <p:sp>
        <p:nvSpPr>
          <p:cNvPr id="3" name="Subtitle 3">
            <a:extLst>
              <a:ext uri="{FF2B5EF4-FFF2-40B4-BE49-F238E27FC236}">
                <a16:creationId xmlns:a16="http://schemas.microsoft.com/office/drawing/2014/main" id="{4077195B-8D8D-4BD5-8ADD-A390F24676CD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365759" y="4343400"/>
            <a:ext cx="7543800" cy="4572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999" b="1"/>
            </a:lvl1pPr>
            <a:lvl2pPr marL="0" indent="0" algn="l">
              <a:spcBef>
                <a:spcPts val="0"/>
              </a:spcBef>
              <a:buNone/>
              <a:defRPr sz="1999"/>
            </a:lvl2pPr>
            <a:lvl3pPr marL="0" indent="0" algn="l">
              <a:spcBef>
                <a:spcPts val="0"/>
              </a:spcBef>
              <a:buNone/>
              <a:defRPr sz="1999"/>
            </a:lvl3pPr>
            <a:lvl4pPr marL="0" indent="0" algn="l">
              <a:spcBef>
                <a:spcPts val="0"/>
              </a:spcBef>
              <a:buNone/>
              <a:defRPr sz="1999"/>
            </a:lvl4pPr>
            <a:lvl5pPr marL="0" indent="0" algn="l">
              <a:spcBef>
                <a:spcPts val="0"/>
              </a:spcBef>
              <a:buNone/>
              <a:defRPr sz="1999"/>
            </a:lvl5pPr>
            <a:lvl6pPr marL="0" indent="0" algn="l">
              <a:spcBef>
                <a:spcPts val="0"/>
              </a:spcBef>
              <a:buNone/>
              <a:defRPr sz="1999"/>
            </a:lvl6pPr>
            <a:lvl7pPr marL="0" indent="0" algn="l">
              <a:spcBef>
                <a:spcPts val="0"/>
              </a:spcBef>
              <a:buNone/>
              <a:defRPr sz="1999"/>
            </a:lvl7pPr>
            <a:lvl8pPr marL="0" indent="0" algn="l">
              <a:spcBef>
                <a:spcPts val="0"/>
              </a:spcBef>
              <a:buNone/>
              <a:defRPr sz="1999"/>
            </a:lvl8pPr>
            <a:lvl9pPr marL="0" indent="0" algn="l">
              <a:spcBef>
                <a:spcPts val="0"/>
              </a:spcBef>
              <a:buNone/>
              <a:defRPr sz="1999"/>
            </a:lvl9pPr>
          </a:lstStyle>
          <a:p>
            <a:r>
              <a:rPr lang="en-US"/>
              <a:t>[Month 00, 0000]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7CE39BE-06F7-7349-BF12-45D065ED872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5758" y="4937760"/>
            <a:ext cx="7543167" cy="6858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b="0"/>
            </a:lvl1pPr>
            <a:lvl2pPr marL="0" indent="0">
              <a:spcBef>
                <a:spcPts val="0"/>
              </a:spcBef>
              <a:buNone/>
              <a:defRPr b="0"/>
            </a:lvl2pPr>
            <a:lvl3pPr marL="0" indent="0">
              <a:spcBef>
                <a:spcPts val="0"/>
              </a:spcBef>
              <a:buNone/>
              <a:defRPr b="0"/>
            </a:lvl3pPr>
            <a:lvl4pPr marL="0" indent="0">
              <a:spcBef>
                <a:spcPts val="0"/>
              </a:spcBef>
              <a:buNone/>
              <a:defRPr b="0"/>
            </a:lvl4pPr>
            <a:lvl5pPr marL="0" indent="0">
              <a:spcBef>
                <a:spcPts val="0"/>
              </a:spcBef>
              <a:buNone/>
              <a:defRPr b="0"/>
            </a:lvl5pPr>
            <a:lvl6pPr marL="0" indent="0">
              <a:spcBef>
                <a:spcPts val="0"/>
              </a:spcBef>
              <a:buNone/>
              <a:defRPr b="0"/>
            </a:lvl6pPr>
            <a:lvl7pPr marL="0" indent="0">
              <a:spcBef>
                <a:spcPts val="0"/>
              </a:spcBef>
              <a:buNone/>
              <a:defRPr b="0"/>
            </a:lvl7pPr>
            <a:lvl8pPr marL="0" indent="0">
              <a:spcBef>
                <a:spcPts val="0"/>
              </a:spcBef>
              <a:buNone/>
              <a:defRPr b="0"/>
            </a:lvl8pPr>
            <a:lvl9pPr marL="0" indent="0">
              <a:spcBef>
                <a:spcPts val="0"/>
              </a:spcBef>
              <a:buNone/>
              <a:defRPr b="0"/>
            </a:lvl9pPr>
          </a:lstStyle>
          <a:p>
            <a:pPr lvl="0"/>
            <a:r>
              <a:rPr lang="en-US"/>
              <a:t>[Presenter Name]</a:t>
            </a:r>
            <a:br>
              <a:rPr lang="en-US"/>
            </a:br>
            <a:r>
              <a:rPr lang="en-US"/>
              <a:t>[Title]</a:t>
            </a:r>
          </a:p>
        </p:txBody>
      </p:sp>
      <p:pic>
        <p:nvPicPr>
          <p:cNvPr id="7" name="Bristol Myers Squibb" descr="Bristol Myers Squibb">
            <a:extLst>
              <a:ext uri="{FF2B5EF4-FFF2-40B4-BE49-F238E27FC236}">
                <a16:creationId xmlns:a16="http://schemas.microsoft.com/office/drawing/2014/main" id="{91000A19-9025-2C4A-9321-625720905BF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150689" y="5913096"/>
            <a:ext cx="3260486" cy="822960"/>
          </a:xfrm>
          <a:prstGeom prst="rect">
            <a:avLst/>
          </a:prstGeom>
          <a:noFill/>
        </p:spPr>
      </p:pic>
      <p:sp>
        <p:nvSpPr>
          <p:cNvPr id="10" name="Disclaimer">
            <a:extLst>
              <a:ext uri="{FF2B5EF4-FFF2-40B4-BE49-F238E27FC236}">
                <a16:creationId xmlns:a16="http://schemas.microsoft.com/office/drawing/2014/main" id="{0411BC70-4820-DF40-90C3-6ACD451ADD60}"/>
              </a:ext>
            </a:extLst>
          </p:cNvPr>
          <p:cNvSpPr txBox="1"/>
          <p:nvPr userDrawn="1"/>
        </p:nvSpPr>
        <p:spPr>
          <a:xfrm>
            <a:off x="8205216" y="6257290"/>
            <a:ext cx="3621659" cy="2286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indent="0" algn="r">
              <a:lnSpc>
                <a:spcPct val="100000"/>
              </a:lnSpc>
              <a:spcBef>
                <a:spcPts val="0"/>
              </a:spcBef>
              <a:buSzPct val="100000"/>
              <a:buFontTx/>
              <a:buNone/>
            </a:pPr>
            <a:r>
              <a:rPr lang="en-US" sz="800" b="0"/>
              <a:t>High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2980529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pos="4982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Light Gray">
    <p:bg>
      <p:bgPr>
        <a:solidFill>
          <a:srgbClr val="EE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">
            <a:extLst>
              <a:ext uri="{FF2B5EF4-FFF2-40B4-BE49-F238E27FC236}">
                <a16:creationId xmlns:a16="http://schemas.microsoft.com/office/drawing/2014/main" id="{692E5CDC-3F8F-AF4C-BDBB-F6335CB85FE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5761" y="365760"/>
            <a:ext cx="7543165" cy="457200"/>
          </a:xfrm>
        </p:spPr>
        <p:txBody>
          <a:bodyPr/>
          <a:lstStyle>
            <a:lvl1pPr marL="0" marR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Trebuchet MS" panose="020B0603020202020204" pitchFamily="34" charset="0"/>
              <a:buNone/>
              <a:tabLst/>
              <a:defRPr b="1"/>
            </a:lvl1pPr>
            <a:lvl2pPr marL="0" indent="0">
              <a:spcBef>
                <a:spcPts val="0"/>
              </a:spcBef>
              <a:buNone/>
              <a:defRPr b="1"/>
            </a:lvl2pPr>
            <a:lvl3pPr marL="0" indent="0">
              <a:spcBef>
                <a:spcPts val="0"/>
              </a:spcBef>
              <a:buNone/>
              <a:defRPr b="1"/>
            </a:lvl3pPr>
            <a:lvl4pPr marL="0" indent="0">
              <a:spcBef>
                <a:spcPts val="0"/>
              </a:spcBef>
              <a:buNone/>
              <a:defRPr b="1"/>
            </a:lvl4pPr>
            <a:lvl5pPr marL="0" indent="0">
              <a:spcBef>
                <a:spcPts val="0"/>
              </a:spcBef>
              <a:buNone/>
              <a:defRPr b="1"/>
            </a:lvl5pPr>
            <a:lvl6pPr marL="0" indent="0">
              <a:spcBef>
                <a:spcPts val="0"/>
              </a:spcBef>
              <a:buNone/>
              <a:defRPr b="1"/>
            </a:lvl6pPr>
            <a:lvl7pPr marL="0" indent="0">
              <a:spcBef>
                <a:spcPts val="0"/>
              </a:spcBef>
              <a:buNone/>
              <a:defRPr b="1"/>
            </a:lvl7pPr>
            <a:lvl8pPr marL="0" indent="0">
              <a:spcBef>
                <a:spcPts val="0"/>
              </a:spcBef>
              <a:buNone/>
              <a:defRPr b="1"/>
            </a:lvl8pPr>
            <a:lvl9pPr marL="0" indent="0">
              <a:spcBef>
                <a:spcPts val="0"/>
              </a:spcBef>
              <a:buNone/>
              <a:defRPr b="1"/>
            </a:lvl9pPr>
          </a:lstStyle>
          <a:p>
            <a:pPr lvl="0"/>
            <a:r>
              <a:rPr lang="en-US"/>
              <a:t>Division/Therapeutic Area [Edit here]</a:t>
            </a: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DD93F370-0603-42F8-A7D8-E3390EE70687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365761" y="1554480"/>
            <a:ext cx="7543165" cy="2560320"/>
          </a:xfrm>
        </p:spPr>
        <p:txBody>
          <a:bodyPr anchor="t" anchorCtr="0"/>
          <a:lstStyle>
            <a:lvl1pPr algn="l">
              <a:defRPr sz="5998" b="0" spc="0" baseline="0"/>
            </a:lvl1pPr>
          </a:lstStyle>
          <a:p>
            <a:r>
              <a:rPr lang="en-US"/>
              <a:t>[Presentation title]</a:t>
            </a:r>
          </a:p>
        </p:txBody>
      </p:sp>
      <p:sp>
        <p:nvSpPr>
          <p:cNvPr id="3" name="Subtitle 3">
            <a:extLst>
              <a:ext uri="{FF2B5EF4-FFF2-40B4-BE49-F238E27FC236}">
                <a16:creationId xmlns:a16="http://schemas.microsoft.com/office/drawing/2014/main" id="{4077195B-8D8D-4BD5-8ADD-A390F24676CD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365759" y="4343400"/>
            <a:ext cx="7543800" cy="4572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999" b="1"/>
            </a:lvl1pPr>
            <a:lvl2pPr marL="0" indent="0" algn="l">
              <a:spcBef>
                <a:spcPts val="0"/>
              </a:spcBef>
              <a:buNone/>
              <a:defRPr sz="1999"/>
            </a:lvl2pPr>
            <a:lvl3pPr marL="0" indent="0" algn="l">
              <a:spcBef>
                <a:spcPts val="0"/>
              </a:spcBef>
              <a:buNone/>
              <a:defRPr sz="1999"/>
            </a:lvl3pPr>
            <a:lvl4pPr marL="0" indent="0" algn="l">
              <a:spcBef>
                <a:spcPts val="0"/>
              </a:spcBef>
              <a:buNone/>
              <a:defRPr sz="1999"/>
            </a:lvl4pPr>
            <a:lvl5pPr marL="0" indent="0" algn="l">
              <a:spcBef>
                <a:spcPts val="0"/>
              </a:spcBef>
              <a:buNone/>
              <a:defRPr sz="1999"/>
            </a:lvl5pPr>
            <a:lvl6pPr marL="0" indent="0" algn="l">
              <a:spcBef>
                <a:spcPts val="0"/>
              </a:spcBef>
              <a:buNone/>
              <a:defRPr sz="1999"/>
            </a:lvl6pPr>
            <a:lvl7pPr marL="0" indent="0" algn="l">
              <a:spcBef>
                <a:spcPts val="0"/>
              </a:spcBef>
              <a:buNone/>
              <a:defRPr sz="1999"/>
            </a:lvl7pPr>
            <a:lvl8pPr marL="0" indent="0" algn="l">
              <a:spcBef>
                <a:spcPts val="0"/>
              </a:spcBef>
              <a:buNone/>
              <a:defRPr sz="1999"/>
            </a:lvl8pPr>
            <a:lvl9pPr marL="0" indent="0" algn="l">
              <a:spcBef>
                <a:spcPts val="0"/>
              </a:spcBef>
              <a:buNone/>
              <a:defRPr sz="1999"/>
            </a:lvl9pPr>
          </a:lstStyle>
          <a:p>
            <a:r>
              <a:rPr lang="en-US"/>
              <a:t>[Month 00, 0000]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F1E892DE-B840-A64B-91A1-1B18F6037C3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5758" y="4937760"/>
            <a:ext cx="7543167" cy="6858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b="0"/>
            </a:lvl1pPr>
            <a:lvl2pPr marL="0" indent="0">
              <a:spcBef>
                <a:spcPts val="0"/>
              </a:spcBef>
              <a:buNone/>
              <a:defRPr b="0"/>
            </a:lvl2pPr>
            <a:lvl3pPr marL="0" indent="0">
              <a:spcBef>
                <a:spcPts val="0"/>
              </a:spcBef>
              <a:buNone/>
              <a:defRPr b="0"/>
            </a:lvl3pPr>
            <a:lvl4pPr marL="0" indent="0">
              <a:spcBef>
                <a:spcPts val="0"/>
              </a:spcBef>
              <a:buNone/>
              <a:defRPr b="0"/>
            </a:lvl4pPr>
            <a:lvl5pPr marL="0" indent="0">
              <a:spcBef>
                <a:spcPts val="0"/>
              </a:spcBef>
              <a:buNone/>
              <a:defRPr b="0"/>
            </a:lvl5pPr>
            <a:lvl6pPr marL="0" indent="0">
              <a:spcBef>
                <a:spcPts val="0"/>
              </a:spcBef>
              <a:buNone/>
              <a:defRPr b="0"/>
            </a:lvl6pPr>
            <a:lvl7pPr marL="0" indent="0">
              <a:spcBef>
                <a:spcPts val="0"/>
              </a:spcBef>
              <a:buNone/>
              <a:defRPr b="0"/>
            </a:lvl7pPr>
            <a:lvl8pPr marL="0" indent="0">
              <a:spcBef>
                <a:spcPts val="0"/>
              </a:spcBef>
              <a:buNone/>
              <a:defRPr b="0"/>
            </a:lvl8pPr>
            <a:lvl9pPr marL="0" indent="0">
              <a:spcBef>
                <a:spcPts val="0"/>
              </a:spcBef>
              <a:buNone/>
              <a:defRPr b="0"/>
            </a:lvl9pPr>
          </a:lstStyle>
          <a:p>
            <a:pPr lvl="0"/>
            <a:r>
              <a:rPr lang="en-US"/>
              <a:t>[Presenter Name]</a:t>
            </a:r>
            <a:br>
              <a:rPr lang="en-US"/>
            </a:br>
            <a:r>
              <a:rPr lang="en-US"/>
              <a:t>[Title]</a:t>
            </a:r>
          </a:p>
        </p:txBody>
      </p:sp>
      <p:pic>
        <p:nvPicPr>
          <p:cNvPr id="7" name="Bristol Myers Squibb" descr="Bristol Myers Squibb">
            <a:extLst>
              <a:ext uri="{FF2B5EF4-FFF2-40B4-BE49-F238E27FC236}">
                <a16:creationId xmlns:a16="http://schemas.microsoft.com/office/drawing/2014/main" id="{91000A19-9025-2C4A-9321-625720905BF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150689" y="5913096"/>
            <a:ext cx="3260486" cy="822960"/>
          </a:xfrm>
          <a:prstGeom prst="rect">
            <a:avLst/>
          </a:prstGeom>
          <a:noFill/>
        </p:spPr>
      </p:pic>
      <p:sp>
        <p:nvSpPr>
          <p:cNvPr id="8" name="Disclaimer">
            <a:extLst>
              <a:ext uri="{FF2B5EF4-FFF2-40B4-BE49-F238E27FC236}">
                <a16:creationId xmlns:a16="http://schemas.microsoft.com/office/drawing/2014/main" id="{F95EDC5C-ABEE-824D-9A00-482457322324}"/>
              </a:ext>
            </a:extLst>
          </p:cNvPr>
          <p:cNvSpPr txBox="1"/>
          <p:nvPr userDrawn="1"/>
        </p:nvSpPr>
        <p:spPr>
          <a:xfrm>
            <a:off x="8205216" y="6257290"/>
            <a:ext cx="3621659" cy="2286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indent="0" algn="r">
              <a:lnSpc>
                <a:spcPct val="100000"/>
              </a:lnSpc>
              <a:spcBef>
                <a:spcPts val="0"/>
              </a:spcBef>
              <a:buSzPct val="100000"/>
              <a:buFontTx/>
              <a:buNone/>
            </a:pPr>
            <a:r>
              <a:rPr lang="en-US" sz="800" b="0"/>
              <a:t>High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182518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pos="4982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77D43C-8061-4F4B-A58C-537B44EA7F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BCB52D-820B-4886-993D-F1BD3CE0A1BF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 rIns="0" numCol="2" spcCol="301752"/>
          <a:lstStyle>
            <a:lvl1pPr marL="411357" indent="-411357">
              <a:buFont typeface="+mj-lt"/>
              <a:buAutoNum type="arabicPeriod"/>
              <a:tabLst/>
              <a:defRPr/>
            </a:lvl1pPr>
            <a:lvl2pPr marL="639888" indent="-228531">
              <a:tabLst/>
              <a:defRPr/>
            </a:lvl2pPr>
            <a:lvl3pPr marL="868419" indent="-228531">
              <a:tabLst/>
              <a:defRPr/>
            </a:lvl3pPr>
            <a:lvl4pPr marL="1096951" indent="-228531">
              <a:tabLst/>
              <a:defRPr/>
            </a:lvl4pPr>
            <a:lvl5pPr marL="1325482" indent="-228531">
              <a:tabLst/>
              <a:defRPr/>
            </a:lvl5pPr>
            <a:lvl6pPr marL="1554014" indent="-228531">
              <a:tabLst/>
              <a:defRPr/>
            </a:lvl6pPr>
            <a:lvl7pPr marL="1782545" indent="-228531">
              <a:tabLst/>
              <a:defRPr/>
            </a:lvl7pPr>
            <a:lvl8pPr marL="2011076" indent="-228531">
              <a:tabLst/>
              <a:defRPr/>
            </a:lvl8pPr>
            <a:lvl9pPr marL="2239608" indent="-228531">
              <a:tabLst/>
              <a:defRPr/>
            </a:lvl9pPr>
          </a:lstStyle>
          <a:p>
            <a:pPr lvl="0"/>
            <a:r>
              <a:rPr lang="en-US"/>
              <a:t>[Agenda item]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A7A49372-BC99-44B1-93F3-52B055BA1B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6200" y="6429375"/>
            <a:ext cx="320040" cy="228600"/>
          </a:xfrm>
          <a:prstGeom prst="rect">
            <a:avLst/>
          </a:prstGeom>
        </p:spPr>
        <p:txBody>
          <a:bodyPr/>
          <a:lstStyle/>
          <a:p>
            <a:fld id="{B58DE5F1-E0F9-4CCA-92B7-7A6FC4DFEE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9679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pos="3744">
          <p15:clr>
            <a:srgbClr val="FBAE40"/>
          </p15:clr>
        </p15:guide>
        <p15:guide id="2" pos="393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77D43C-8061-4F4B-A58C-537B44EA7F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BCB52D-820B-4886-993D-F1BD3CE0A1B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A7A49372-BC99-44B1-93F3-52B055BA1B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6200" y="6429375"/>
            <a:ext cx="320040" cy="22860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2311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B6F4C8E8-7E9A-224F-8714-AB4216A9C1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760" y="365760"/>
            <a:ext cx="11460481" cy="914400"/>
          </a:xfrm>
        </p:spPr>
        <p:txBody>
          <a:bodyPr/>
          <a:lstStyle/>
          <a:p>
            <a:r>
              <a:rPr lang="en-US"/>
              <a:t>[Slide title]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8D83941-3469-4946-BCE6-FA84F7323A0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65759" y="1554480"/>
            <a:ext cx="5577840" cy="4572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38A127C-C71C-410F-8BEA-B1AA4E4DB59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48400" y="1554480"/>
            <a:ext cx="5577840" cy="4572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4">
            <a:extLst>
              <a:ext uri="{FF2B5EF4-FFF2-40B4-BE49-F238E27FC236}">
                <a16:creationId xmlns:a16="http://schemas.microsoft.com/office/drawing/2014/main" id="{941E30D8-4EF8-495A-8824-D819A46BF9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6200" y="6429375"/>
            <a:ext cx="320040" cy="22860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41645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pos="3744">
          <p15:clr>
            <a:srgbClr val="FBAE40"/>
          </p15:clr>
        </p15:guide>
        <p15:guide id="2" pos="39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0A65C3A-C556-7B4E-9098-E1FD19D432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760" y="365760"/>
            <a:ext cx="11460481" cy="914400"/>
          </a:xfrm>
        </p:spPr>
        <p:txBody>
          <a:bodyPr/>
          <a:lstStyle/>
          <a:p>
            <a:r>
              <a:rPr lang="en-US"/>
              <a:t>[Slide title]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8D83941-3469-4946-BCE6-FA84F7323A0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65761" y="1554480"/>
            <a:ext cx="3621024" cy="4572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38A127C-C71C-410F-8BEA-B1AA4E4DB59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85489" y="1554480"/>
            <a:ext cx="3621024" cy="4572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48592F68-1A92-1442-9565-3EF907A57B3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205216" y="1554480"/>
            <a:ext cx="3621024" cy="4572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941E30D8-4EF8-495A-8824-D819A46BF9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6200" y="6429375"/>
            <a:ext cx="320040" cy="22860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19254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pos="2698">
          <p15:clr>
            <a:srgbClr val="FBAE40"/>
          </p15:clr>
        </p15:guide>
        <p15:guide id="2" pos="2512">
          <p15:clr>
            <a:srgbClr val="FBAE40"/>
          </p15:clr>
        </p15:guide>
        <p15:guide id="3" pos="4982">
          <p15:clr>
            <a:srgbClr val="FBAE40"/>
          </p15:clr>
        </p15:guide>
        <p15:guide id="4" pos="5168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12861D7D-0CE3-D447-AB46-E7F0601A9C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760" y="365760"/>
            <a:ext cx="11460481" cy="914400"/>
          </a:xfrm>
        </p:spPr>
        <p:txBody>
          <a:bodyPr/>
          <a:lstStyle/>
          <a:p>
            <a:r>
              <a:rPr lang="en-US"/>
              <a:t>[Slide title]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8D83941-3469-4946-BCE6-FA84F7323A0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65760" y="1554480"/>
            <a:ext cx="2642616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38A127C-C71C-410F-8BEA-B1AA4E4DB59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302001" y="1554480"/>
            <a:ext cx="2641598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48592F68-1A92-1442-9565-3EF907A57B3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248400" y="1554480"/>
            <a:ext cx="26416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5">
            <a:extLst>
              <a:ext uri="{FF2B5EF4-FFF2-40B4-BE49-F238E27FC236}">
                <a16:creationId xmlns:a16="http://schemas.microsoft.com/office/drawing/2014/main" id="{04198CF4-E51B-2147-88D7-1228A1479BF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9183624" y="1554480"/>
            <a:ext cx="2642616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41E30D8-4EF8-495A-8824-D819A46BF9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6200" y="6429375"/>
            <a:ext cx="320040" cy="22860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1034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pos="2080">
          <p15:clr>
            <a:srgbClr val="FBAE40"/>
          </p15:clr>
        </p15:guide>
        <p15:guide id="2" pos="1896">
          <p15:clr>
            <a:srgbClr val="FBAE40"/>
          </p15:clr>
        </p15:guide>
        <p15:guide id="3" pos="5600">
          <p15:clr>
            <a:srgbClr val="FBAE40"/>
          </p15:clr>
        </p15:guide>
        <p15:guide id="4" pos="5784">
          <p15:clr>
            <a:srgbClr val="FBAE40"/>
          </p15:clr>
        </p15:guide>
        <p15:guide id="5" pos="3744">
          <p15:clr>
            <a:srgbClr val="FBAE40"/>
          </p15:clr>
        </p15:guide>
        <p15:guide id="6" pos="39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3D903699-153C-AD47-95F6-16E2B30162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760" y="365760"/>
            <a:ext cx="11460481" cy="914400"/>
          </a:xfrm>
        </p:spPr>
        <p:txBody>
          <a:bodyPr/>
          <a:lstStyle/>
          <a:p>
            <a:r>
              <a:rPr lang="en-US"/>
              <a:t>[Slide title]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8D83941-3469-4946-BCE6-FA84F7323A0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65760" y="1554480"/>
            <a:ext cx="3618992" cy="4572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38A127C-C71C-410F-8BEA-B1AA4E4DB59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86504" y="1554480"/>
            <a:ext cx="7539736" cy="4572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4">
            <a:extLst>
              <a:ext uri="{FF2B5EF4-FFF2-40B4-BE49-F238E27FC236}">
                <a16:creationId xmlns:a16="http://schemas.microsoft.com/office/drawing/2014/main" id="{941E30D8-4EF8-495A-8824-D819A46BF9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6200" y="6429375"/>
            <a:ext cx="320040" cy="22860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98349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pos="2700">
          <p15:clr>
            <a:srgbClr val="FBAE40"/>
          </p15:clr>
        </p15:guide>
        <p15:guide id="2" pos="2512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FEF123-E2C1-8448-BA4B-9ECBEA28E8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760" y="365760"/>
            <a:ext cx="11460481" cy="914400"/>
          </a:xfrm>
        </p:spPr>
        <p:txBody>
          <a:bodyPr/>
          <a:lstStyle/>
          <a:p>
            <a:r>
              <a:rPr lang="en-US"/>
              <a:t>[Slide title]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8D83941-3469-4946-BCE6-FA84F7323A0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65761" y="1554480"/>
            <a:ext cx="7539736" cy="4572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38A127C-C71C-410F-8BEA-B1AA4E4DB59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207248" y="1554480"/>
            <a:ext cx="3618992" cy="4572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67FB1D32-3E1C-554A-A887-047CEBF6A0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6200" y="6429375"/>
            <a:ext cx="320040" cy="22860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0594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3" pos="4980">
          <p15:clr>
            <a:srgbClr val="FBAE40"/>
          </p15:clr>
        </p15:guide>
        <p15:guide id="4" pos="5168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B6F4C8E8-7E9A-224F-8714-AB4216A9C1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760" y="365760"/>
            <a:ext cx="11460480" cy="914400"/>
          </a:xfrm>
        </p:spPr>
        <p:txBody>
          <a:bodyPr/>
          <a:lstStyle/>
          <a:p>
            <a:r>
              <a:rPr lang="en-US"/>
              <a:t>[Slide title]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8D83941-3469-4946-BCE6-FA84F7323A0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65759" y="1554480"/>
            <a:ext cx="5577840" cy="4572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38A127C-C71C-410F-8BEA-B1AA4E4DB59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48401" y="1554480"/>
            <a:ext cx="5577840" cy="4572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4">
            <a:extLst>
              <a:ext uri="{FF2B5EF4-FFF2-40B4-BE49-F238E27FC236}">
                <a16:creationId xmlns:a16="http://schemas.microsoft.com/office/drawing/2014/main" id="{941E30D8-4EF8-495A-8824-D819A46BF9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6200" y="6429375"/>
            <a:ext cx="320041" cy="228600"/>
          </a:xfrm>
          <a:prstGeom prst="rect">
            <a:avLst/>
          </a:prstGeom>
        </p:spPr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630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744">
          <p15:clr>
            <a:srgbClr val="FBAE40"/>
          </p15:clr>
        </p15:guide>
        <p15:guide id="2" pos="3936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7244BE-F5F5-DB40-B805-09B59F695D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[Optional slide title]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BCB52D-820B-4886-993D-F1BD3CE0A1B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65760" y="1554479"/>
            <a:ext cx="8524240" cy="4572000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5998" b="0" spc="0" baseline="0">
                <a:solidFill>
                  <a:schemeClr val="tx1"/>
                </a:solidFill>
                <a:latin typeface="+mn-lt"/>
              </a:defRPr>
            </a:lvl1pPr>
            <a:lvl2pPr marL="228531">
              <a:spcBef>
                <a:spcPts val="1200"/>
              </a:spcBef>
              <a:defRPr/>
            </a:lvl2pPr>
            <a:lvl3pPr marL="457063">
              <a:defRPr/>
            </a:lvl3pPr>
            <a:lvl4pPr marL="685594">
              <a:defRPr/>
            </a:lvl4pPr>
            <a:lvl5pPr marL="914126">
              <a:defRPr/>
            </a:lvl5pPr>
            <a:lvl6pPr marL="1142657">
              <a:defRPr/>
            </a:lvl6pPr>
            <a:lvl7pPr marL="1371189">
              <a:defRPr/>
            </a:lvl7pPr>
            <a:lvl8pPr marL="1599720">
              <a:defRPr/>
            </a:lvl8pPr>
            <a:lvl9pPr marL="1828251">
              <a:defRPr/>
            </a:lvl9pPr>
          </a:lstStyle>
          <a:p>
            <a:pPr lvl="0"/>
            <a:r>
              <a:rPr lang="en-US"/>
              <a:t>[Big statement]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A7A49372-BC99-44B1-93F3-52B055BA1B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6200" y="6429375"/>
            <a:ext cx="320040" cy="22860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48975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2" pos="5600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- Amber">
    <p:bg>
      <p:bgPr>
        <a:gradFill>
          <a:gsLst>
            <a:gs pos="0">
              <a:srgbClr val="FFFBF4"/>
            </a:gs>
            <a:gs pos="100000">
              <a:srgbClr val="FFECCD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7244BE-F5F5-DB40-B805-09B59F695D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760" y="365760"/>
            <a:ext cx="11460481" cy="914400"/>
          </a:xfrm>
        </p:spPr>
        <p:txBody>
          <a:bodyPr/>
          <a:lstStyle/>
          <a:p>
            <a:r>
              <a:rPr lang="en-US"/>
              <a:t>[Optional slide title]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BCB52D-820B-4886-993D-F1BD3CE0A1B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65760" y="1554479"/>
            <a:ext cx="8524240" cy="4572000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5998" b="0" spc="0" baseline="0">
                <a:solidFill>
                  <a:schemeClr val="tx1"/>
                </a:solidFill>
                <a:latin typeface="+mn-lt"/>
              </a:defRPr>
            </a:lvl1pPr>
            <a:lvl2pPr marL="228531">
              <a:spcBef>
                <a:spcPts val="1200"/>
              </a:spcBef>
              <a:defRPr/>
            </a:lvl2pPr>
            <a:lvl3pPr marL="457063">
              <a:defRPr/>
            </a:lvl3pPr>
            <a:lvl4pPr marL="685594">
              <a:defRPr/>
            </a:lvl4pPr>
            <a:lvl5pPr marL="914126">
              <a:defRPr/>
            </a:lvl5pPr>
            <a:lvl6pPr marL="1142657">
              <a:defRPr/>
            </a:lvl6pPr>
            <a:lvl7pPr marL="1371189">
              <a:defRPr/>
            </a:lvl7pPr>
            <a:lvl8pPr marL="1599720">
              <a:defRPr/>
            </a:lvl8pPr>
            <a:lvl9pPr marL="1828251">
              <a:defRPr/>
            </a:lvl9pPr>
          </a:lstStyle>
          <a:p>
            <a:pPr lvl="0"/>
            <a:r>
              <a:rPr lang="en-US"/>
              <a:t>[Big statement]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A7A49372-BC99-44B1-93F3-52B055BA1B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6200" y="6429375"/>
            <a:ext cx="320040" cy="22860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0043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2" pos="5600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- Peach">
    <p:bg>
      <p:bgPr>
        <a:gradFill>
          <a:gsLst>
            <a:gs pos="0">
              <a:srgbClr val="FFF7F3"/>
            </a:gs>
            <a:gs pos="100000">
              <a:srgbClr val="FEDCCA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7244BE-F5F5-DB40-B805-09B59F695D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760" y="365760"/>
            <a:ext cx="11460481" cy="914400"/>
          </a:xfrm>
        </p:spPr>
        <p:txBody>
          <a:bodyPr/>
          <a:lstStyle/>
          <a:p>
            <a:r>
              <a:rPr lang="en-US"/>
              <a:t>[Optional slide title]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BCB52D-820B-4886-993D-F1BD3CE0A1B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65760" y="1554479"/>
            <a:ext cx="8524240" cy="4572000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5998" b="0" spc="0" baseline="0">
                <a:solidFill>
                  <a:schemeClr val="tx1"/>
                </a:solidFill>
                <a:latin typeface="+mn-lt"/>
              </a:defRPr>
            </a:lvl1pPr>
            <a:lvl2pPr marL="228531">
              <a:spcBef>
                <a:spcPts val="1200"/>
              </a:spcBef>
              <a:defRPr/>
            </a:lvl2pPr>
            <a:lvl3pPr marL="457063">
              <a:defRPr/>
            </a:lvl3pPr>
            <a:lvl4pPr marL="685594">
              <a:defRPr/>
            </a:lvl4pPr>
            <a:lvl5pPr marL="914126">
              <a:defRPr/>
            </a:lvl5pPr>
            <a:lvl6pPr marL="1142657">
              <a:defRPr/>
            </a:lvl6pPr>
            <a:lvl7pPr marL="1371189">
              <a:defRPr/>
            </a:lvl7pPr>
            <a:lvl8pPr marL="1599720">
              <a:defRPr/>
            </a:lvl8pPr>
            <a:lvl9pPr marL="1828251">
              <a:defRPr/>
            </a:lvl9pPr>
          </a:lstStyle>
          <a:p>
            <a:pPr lvl="0"/>
            <a:r>
              <a:rPr lang="en-US"/>
              <a:t>[Big statement]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A7A49372-BC99-44B1-93F3-52B055BA1B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6200" y="6429375"/>
            <a:ext cx="320040" cy="22860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66989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2" pos="5600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- Olive">
    <p:bg>
      <p:bgPr>
        <a:gradFill>
          <a:gsLst>
            <a:gs pos="0">
              <a:srgbClr val="FAF6F3"/>
            </a:gs>
            <a:gs pos="100000">
              <a:srgbClr val="EAD5C9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7244BE-F5F5-DB40-B805-09B59F695D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760" y="365760"/>
            <a:ext cx="11460481" cy="914400"/>
          </a:xfrm>
        </p:spPr>
        <p:txBody>
          <a:bodyPr/>
          <a:lstStyle/>
          <a:p>
            <a:r>
              <a:rPr lang="en-US"/>
              <a:t>[Optional slide title]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BCB52D-820B-4886-993D-F1BD3CE0A1B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65760" y="1554479"/>
            <a:ext cx="8524240" cy="4572000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5998" b="0" spc="0" baseline="0">
                <a:solidFill>
                  <a:schemeClr val="tx1"/>
                </a:solidFill>
                <a:latin typeface="+mn-lt"/>
              </a:defRPr>
            </a:lvl1pPr>
            <a:lvl2pPr marL="228531">
              <a:spcBef>
                <a:spcPts val="1200"/>
              </a:spcBef>
              <a:defRPr/>
            </a:lvl2pPr>
            <a:lvl3pPr marL="457063">
              <a:defRPr/>
            </a:lvl3pPr>
            <a:lvl4pPr marL="685594">
              <a:defRPr/>
            </a:lvl4pPr>
            <a:lvl5pPr marL="914126">
              <a:defRPr/>
            </a:lvl5pPr>
            <a:lvl6pPr marL="1142657">
              <a:defRPr/>
            </a:lvl6pPr>
            <a:lvl7pPr marL="1371189">
              <a:defRPr/>
            </a:lvl7pPr>
            <a:lvl8pPr marL="1599720">
              <a:defRPr/>
            </a:lvl8pPr>
            <a:lvl9pPr marL="1828251">
              <a:defRPr/>
            </a:lvl9pPr>
          </a:lstStyle>
          <a:p>
            <a:pPr lvl="0"/>
            <a:r>
              <a:rPr lang="en-US"/>
              <a:t>[Big statement]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A7A49372-BC99-44B1-93F3-52B055BA1B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6200" y="6429375"/>
            <a:ext cx="320040" cy="228600"/>
          </a:xfrm>
          <a:prstGeom prst="rect">
            <a:avLst/>
          </a:prstGeom>
        </p:spPr>
        <p:txBody>
          <a:bodyPr/>
          <a:lstStyle/>
          <a:p>
            <a:fld id="{B58DE5F1-E0F9-4CCA-92B7-7A6FC4DFEE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13930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2" pos="5600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- Almond">
    <p:bg>
      <p:bgPr>
        <a:gradFill>
          <a:gsLst>
            <a:gs pos="0">
              <a:srgbClr val="F8F3F1"/>
            </a:gs>
            <a:gs pos="100000">
              <a:srgbClr val="DFCBC3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7244BE-F5F5-DB40-B805-09B59F695D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760" y="365760"/>
            <a:ext cx="11460481" cy="914400"/>
          </a:xfrm>
        </p:spPr>
        <p:txBody>
          <a:bodyPr/>
          <a:lstStyle/>
          <a:p>
            <a:r>
              <a:rPr lang="en-US"/>
              <a:t>[Optional slide title]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BCB52D-820B-4886-993D-F1BD3CE0A1B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65760" y="1554479"/>
            <a:ext cx="8524240" cy="4572000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5998" b="0" spc="0" baseline="0">
                <a:solidFill>
                  <a:schemeClr val="tx1"/>
                </a:solidFill>
                <a:latin typeface="+mn-lt"/>
              </a:defRPr>
            </a:lvl1pPr>
            <a:lvl2pPr marL="228531">
              <a:spcBef>
                <a:spcPts val="1200"/>
              </a:spcBef>
              <a:defRPr/>
            </a:lvl2pPr>
            <a:lvl3pPr marL="457063">
              <a:defRPr/>
            </a:lvl3pPr>
            <a:lvl4pPr marL="685594">
              <a:defRPr/>
            </a:lvl4pPr>
            <a:lvl5pPr marL="914126">
              <a:defRPr/>
            </a:lvl5pPr>
            <a:lvl6pPr marL="1142657">
              <a:defRPr/>
            </a:lvl6pPr>
            <a:lvl7pPr marL="1371189">
              <a:defRPr/>
            </a:lvl7pPr>
            <a:lvl8pPr marL="1599720">
              <a:defRPr/>
            </a:lvl8pPr>
            <a:lvl9pPr marL="1828251">
              <a:defRPr/>
            </a:lvl9pPr>
          </a:lstStyle>
          <a:p>
            <a:pPr lvl="0"/>
            <a:r>
              <a:rPr lang="en-US"/>
              <a:t>[Big statement]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A7A49372-BC99-44B1-93F3-52B055BA1B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6200" y="6429375"/>
            <a:ext cx="320040" cy="228600"/>
          </a:xfrm>
          <a:prstGeom prst="rect">
            <a:avLst/>
          </a:prstGeom>
        </p:spPr>
        <p:txBody>
          <a:bodyPr/>
          <a:lstStyle/>
          <a:p>
            <a:fld id="{B58DE5F1-E0F9-4CCA-92B7-7A6FC4DFEE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7119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2" pos="5600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- Sienna">
    <p:bg>
      <p:bgPr>
        <a:gradFill>
          <a:gsLst>
            <a:gs pos="0">
              <a:srgbClr val="F5F0F0"/>
            </a:gs>
            <a:gs pos="100000">
              <a:srgbClr val="DAC5C5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7244BE-F5F5-DB40-B805-09B59F695D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760" y="365760"/>
            <a:ext cx="11460481" cy="914400"/>
          </a:xfrm>
        </p:spPr>
        <p:txBody>
          <a:bodyPr/>
          <a:lstStyle/>
          <a:p>
            <a:r>
              <a:rPr lang="en-US"/>
              <a:t>[Optional slide title]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BCB52D-820B-4886-993D-F1BD3CE0A1B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65760" y="1554479"/>
            <a:ext cx="8524240" cy="4572000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5998" b="0" spc="0" baseline="0">
                <a:solidFill>
                  <a:schemeClr val="tx1"/>
                </a:solidFill>
                <a:latin typeface="+mn-lt"/>
              </a:defRPr>
            </a:lvl1pPr>
            <a:lvl2pPr marL="228531">
              <a:spcBef>
                <a:spcPts val="1200"/>
              </a:spcBef>
              <a:defRPr/>
            </a:lvl2pPr>
            <a:lvl3pPr marL="457063">
              <a:defRPr/>
            </a:lvl3pPr>
            <a:lvl4pPr marL="685594">
              <a:defRPr/>
            </a:lvl4pPr>
            <a:lvl5pPr marL="914126">
              <a:defRPr/>
            </a:lvl5pPr>
            <a:lvl6pPr marL="1142657">
              <a:defRPr/>
            </a:lvl6pPr>
            <a:lvl7pPr marL="1371189">
              <a:defRPr/>
            </a:lvl7pPr>
            <a:lvl8pPr marL="1599720">
              <a:defRPr/>
            </a:lvl8pPr>
            <a:lvl9pPr marL="1828251">
              <a:defRPr/>
            </a:lvl9pPr>
          </a:lstStyle>
          <a:p>
            <a:pPr lvl="0"/>
            <a:r>
              <a:rPr lang="en-US"/>
              <a:t>[Big statement]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A7A49372-BC99-44B1-93F3-52B055BA1B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6200" y="6429375"/>
            <a:ext cx="320040" cy="228600"/>
          </a:xfrm>
          <a:prstGeom prst="rect">
            <a:avLst/>
          </a:prstGeom>
        </p:spPr>
        <p:txBody>
          <a:bodyPr/>
          <a:lstStyle/>
          <a:p>
            <a:fld id="{B58DE5F1-E0F9-4CCA-92B7-7A6FC4DFEE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59313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2" pos="5600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- Chocolate">
    <p:bg>
      <p:bgPr>
        <a:gradFill>
          <a:gsLst>
            <a:gs pos="0">
              <a:srgbClr val="F6F4F3"/>
            </a:gs>
            <a:gs pos="100000">
              <a:srgbClr val="D2CAC8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7244BE-F5F5-DB40-B805-09B59F695D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760" y="365760"/>
            <a:ext cx="11460481" cy="914400"/>
          </a:xfrm>
        </p:spPr>
        <p:txBody>
          <a:bodyPr/>
          <a:lstStyle/>
          <a:p>
            <a:r>
              <a:rPr lang="en-US"/>
              <a:t>[Optional slide title]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BCB52D-820B-4886-993D-F1BD3CE0A1B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65760" y="1554479"/>
            <a:ext cx="8524240" cy="4572000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5998" b="0" spc="0" baseline="0">
                <a:solidFill>
                  <a:schemeClr val="tx1"/>
                </a:solidFill>
                <a:latin typeface="+mn-lt"/>
              </a:defRPr>
            </a:lvl1pPr>
            <a:lvl2pPr marL="228531">
              <a:spcBef>
                <a:spcPts val="1200"/>
              </a:spcBef>
              <a:defRPr/>
            </a:lvl2pPr>
            <a:lvl3pPr marL="457063">
              <a:defRPr/>
            </a:lvl3pPr>
            <a:lvl4pPr marL="685594">
              <a:defRPr/>
            </a:lvl4pPr>
            <a:lvl5pPr marL="914126">
              <a:defRPr/>
            </a:lvl5pPr>
            <a:lvl6pPr marL="1142657">
              <a:defRPr/>
            </a:lvl6pPr>
            <a:lvl7pPr marL="1371189">
              <a:defRPr/>
            </a:lvl7pPr>
            <a:lvl8pPr marL="1599720">
              <a:defRPr/>
            </a:lvl8pPr>
            <a:lvl9pPr marL="1828251">
              <a:defRPr/>
            </a:lvl9pPr>
          </a:lstStyle>
          <a:p>
            <a:pPr lvl="0"/>
            <a:r>
              <a:rPr lang="en-US"/>
              <a:t>[Big statement]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A7A49372-BC99-44B1-93F3-52B055BA1B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6200" y="6429375"/>
            <a:ext cx="320040" cy="228600"/>
          </a:xfrm>
          <a:prstGeom prst="rect">
            <a:avLst/>
          </a:prstGeom>
        </p:spPr>
        <p:txBody>
          <a:bodyPr/>
          <a:lstStyle/>
          <a:p>
            <a:fld id="{B58DE5F1-E0F9-4CCA-92B7-7A6FC4DFEE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59552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2" pos="5600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- Mint">
    <p:bg>
      <p:bgPr>
        <a:gradFill>
          <a:gsLst>
            <a:gs pos="0">
              <a:srgbClr val="F2FFF9"/>
            </a:gs>
            <a:gs pos="100000">
              <a:srgbClr val="C5FFE6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7244BE-F5F5-DB40-B805-09B59F695D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760" y="365760"/>
            <a:ext cx="11460481" cy="914400"/>
          </a:xfrm>
        </p:spPr>
        <p:txBody>
          <a:bodyPr/>
          <a:lstStyle/>
          <a:p>
            <a:r>
              <a:rPr lang="en-US"/>
              <a:t>[Optional slide title]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BCB52D-820B-4886-993D-F1BD3CE0A1B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65760" y="1554479"/>
            <a:ext cx="8524240" cy="4572000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5998" b="0" spc="0" baseline="0">
                <a:solidFill>
                  <a:schemeClr val="tx1"/>
                </a:solidFill>
                <a:latin typeface="+mn-lt"/>
              </a:defRPr>
            </a:lvl1pPr>
            <a:lvl2pPr marL="228531">
              <a:spcBef>
                <a:spcPts val="1200"/>
              </a:spcBef>
              <a:defRPr/>
            </a:lvl2pPr>
            <a:lvl3pPr marL="457063">
              <a:defRPr/>
            </a:lvl3pPr>
            <a:lvl4pPr marL="685594">
              <a:defRPr/>
            </a:lvl4pPr>
            <a:lvl5pPr marL="914126">
              <a:defRPr/>
            </a:lvl5pPr>
            <a:lvl6pPr marL="1142657">
              <a:defRPr/>
            </a:lvl6pPr>
            <a:lvl7pPr marL="1371189">
              <a:defRPr/>
            </a:lvl7pPr>
            <a:lvl8pPr marL="1599720">
              <a:defRPr/>
            </a:lvl8pPr>
            <a:lvl9pPr marL="1828251">
              <a:defRPr/>
            </a:lvl9pPr>
          </a:lstStyle>
          <a:p>
            <a:pPr lvl="0"/>
            <a:r>
              <a:rPr lang="en-US"/>
              <a:t>[Big statement]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A7A49372-BC99-44B1-93F3-52B055BA1B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6200" y="6429375"/>
            <a:ext cx="320040" cy="228600"/>
          </a:xfrm>
          <a:prstGeom prst="rect">
            <a:avLst/>
          </a:prstGeom>
        </p:spPr>
        <p:txBody>
          <a:bodyPr/>
          <a:lstStyle/>
          <a:p>
            <a:fld id="{B58DE5F1-E0F9-4CCA-92B7-7A6FC4DFEE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32904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2" pos="5600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- Aqua">
    <p:bg>
      <p:bgPr>
        <a:gradFill>
          <a:gsLst>
            <a:gs pos="0">
              <a:srgbClr val="EFFCFE"/>
            </a:gs>
            <a:gs pos="100000">
              <a:srgbClr val="C0F2FB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7244BE-F5F5-DB40-B805-09B59F695D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760" y="365760"/>
            <a:ext cx="11460481" cy="914400"/>
          </a:xfrm>
        </p:spPr>
        <p:txBody>
          <a:bodyPr/>
          <a:lstStyle/>
          <a:p>
            <a:r>
              <a:rPr lang="en-US"/>
              <a:t>[Optional slide title]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BCB52D-820B-4886-993D-F1BD3CE0A1B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65760" y="1554479"/>
            <a:ext cx="8524240" cy="4572000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5998" b="0" spc="0" baseline="0">
                <a:solidFill>
                  <a:schemeClr val="tx1"/>
                </a:solidFill>
                <a:latin typeface="+mn-lt"/>
              </a:defRPr>
            </a:lvl1pPr>
            <a:lvl2pPr marL="228531">
              <a:spcBef>
                <a:spcPts val="1200"/>
              </a:spcBef>
              <a:defRPr/>
            </a:lvl2pPr>
            <a:lvl3pPr marL="457063">
              <a:defRPr/>
            </a:lvl3pPr>
            <a:lvl4pPr marL="685594">
              <a:defRPr/>
            </a:lvl4pPr>
            <a:lvl5pPr marL="914126">
              <a:defRPr/>
            </a:lvl5pPr>
            <a:lvl6pPr marL="1142657">
              <a:defRPr/>
            </a:lvl6pPr>
            <a:lvl7pPr marL="1371189">
              <a:defRPr/>
            </a:lvl7pPr>
            <a:lvl8pPr marL="1599720">
              <a:defRPr/>
            </a:lvl8pPr>
            <a:lvl9pPr marL="1828251">
              <a:defRPr/>
            </a:lvl9pPr>
          </a:lstStyle>
          <a:p>
            <a:pPr lvl="0"/>
            <a:r>
              <a:rPr lang="en-US"/>
              <a:t>[Big statement]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A7A49372-BC99-44B1-93F3-52B055BA1B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6200" y="6429375"/>
            <a:ext cx="320040" cy="228600"/>
          </a:xfrm>
          <a:prstGeom prst="rect">
            <a:avLst/>
          </a:prstGeom>
        </p:spPr>
        <p:txBody>
          <a:bodyPr/>
          <a:lstStyle/>
          <a:p>
            <a:fld id="{B58DE5F1-E0F9-4CCA-92B7-7A6FC4DFEE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1832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2" pos="5600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nent - Light Gray">
    <p:bg>
      <p:bgPr>
        <a:solidFill>
          <a:srgbClr val="EE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7244BE-F5F5-DB40-B805-09B59F695D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760" y="365760"/>
            <a:ext cx="11460481" cy="914400"/>
          </a:xfrm>
        </p:spPr>
        <p:txBody>
          <a:bodyPr/>
          <a:lstStyle/>
          <a:p>
            <a:r>
              <a:rPr lang="en-US"/>
              <a:t>[Optional slide title]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BCB52D-820B-4886-993D-F1BD3CE0A1B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65760" y="1554479"/>
            <a:ext cx="8524240" cy="4572000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5998" b="0" spc="0" baseline="0">
                <a:solidFill>
                  <a:schemeClr val="tx1"/>
                </a:solidFill>
                <a:latin typeface="+mn-lt"/>
              </a:defRPr>
            </a:lvl1pPr>
            <a:lvl2pPr marL="228531">
              <a:spcBef>
                <a:spcPts val="1200"/>
              </a:spcBef>
              <a:defRPr/>
            </a:lvl2pPr>
            <a:lvl3pPr marL="457063">
              <a:defRPr/>
            </a:lvl3pPr>
            <a:lvl4pPr marL="685594">
              <a:defRPr/>
            </a:lvl4pPr>
            <a:lvl5pPr marL="914126">
              <a:defRPr/>
            </a:lvl5pPr>
            <a:lvl6pPr marL="1142657">
              <a:defRPr/>
            </a:lvl6pPr>
            <a:lvl7pPr marL="1371189">
              <a:defRPr/>
            </a:lvl7pPr>
            <a:lvl8pPr marL="1599720">
              <a:defRPr/>
            </a:lvl8pPr>
            <a:lvl9pPr marL="1828251">
              <a:defRPr/>
            </a:lvl9pPr>
          </a:lstStyle>
          <a:p>
            <a:pPr lvl="0"/>
            <a:r>
              <a:rPr lang="en-US"/>
              <a:t>[Big statement]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A7A49372-BC99-44B1-93F3-52B055BA1B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6200" y="6429375"/>
            <a:ext cx="320040" cy="228600"/>
          </a:xfrm>
          <a:prstGeom prst="rect">
            <a:avLst/>
          </a:prstGeom>
        </p:spPr>
        <p:txBody>
          <a:bodyPr/>
          <a:lstStyle/>
          <a:p>
            <a:fld id="{B58DE5F1-E0F9-4CCA-92B7-7A6FC4DFEE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5599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2" pos="560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0A65C3A-C556-7B4E-9098-E1FD19D432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760" y="365760"/>
            <a:ext cx="11460480" cy="914400"/>
          </a:xfrm>
        </p:spPr>
        <p:txBody>
          <a:bodyPr/>
          <a:lstStyle/>
          <a:p>
            <a:r>
              <a:rPr lang="en-US"/>
              <a:t>[Slide title]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8D83941-3469-4946-BCE6-FA84F7323A0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65760" y="1554480"/>
            <a:ext cx="3621024" cy="4572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38A127C-C71C-410F-8BEA-B1AA4E4DB59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85488" y="1554480"/>
            <a:ext cx="3621024" cy="4572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48592F68-1A92-1442-9565-3EF907A57B3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205216" y="1554480"/>
            <a:ext cx="3621024" cy="457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941E30D8-4EF8-495A-8824-D819A46BF9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6200" y="6429375"/>
            <a:ext cx="320041" cy="228600"/>
          </a:xfrm>
          <a:prstGeom prst="rect">
            <a:avLst/>
          </a:prstGeom>
        </p:spPr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77329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699">
          <p15:clr>
            <a:srgbClr val="FBAE40"/>
          </p15:clr>
        </p15:guide>
        <p15:guide id="2" pos="2512">
          <p15:clr>
            <a:srgbClr val="FBAE40"/>
          </p15:clr>
        </p15:guide>
        <p15:guide id="3" pos="4981">
          <p15:clr>
            <a:srgbClr val="FBAE40"/>
          </p15:clr>
        </p15:guide>
        <p15:guide id="4" pos="5168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One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77D43C-8061-4F4B-A58C-537B44EA7F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760" y="365760"/>
            <a:ext cx="5428488" cy="9144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BCB52D-820B-4886-993D-F1BD3CE0A1B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5760" y="1554480"/>
            <a:ext cx="5428488" cy="4572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FB768959-B468-B74C-99C1-89889E5B1ED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1" cy="6858000"/>
          </a:xfrm>
          <a:solidFill>
            <a:srgbClr val="F2F2F2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FontTx/>
              <a:buNone/>
              <a:defRPr sz="12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A7A49372-BC99-44B1-93F3-52B055BA1B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6200" y="6429375"/>
            <a:ext cx="320040" cy="228600"/>
          </a:xfrm>
          <a:prstGeom prst="rect">
            <a:avLst/>
          </a:prstGeom>
        </p:spPr>
        <p:txBody>
          <a:bodyPr/>
          <a:lstStyle/>
          <a:p>
            <a:fld id="{B58DE5F1-E0F9-4CCA-92B7-7A6FC4DFEE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375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Two Pictur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77D43C-8061-4F4B-A58C-537B44EA7F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760" y="365760"/>
            <a:ext cx="5428488" cy="9144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BCB52D-820B-4886-993D-F1BD3CE0A1B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5760" y="1554480"/>
            <a:ext cx="5428488" cy="4572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FB768959-B468-B74C-99C1-89889E5B1ED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1" cy="3429000"/>
          </a:xfrm>
          <a:solidFill>
            <a:srgbClr val="F2F2F2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FontTx/>
              <a:buNone/>
              <a:defRPr sz="12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Picture Placeholder 4">
            <a:extLst>
              <a:ext uri="{FF2B5EF4-FFF2-40B4-BE49-F238E27FC236}">
                <a16:creationId xmlns:a16="http://schemas.microsoft.com/office/drawing/2014/main" id="{A613A27A-887F-7D4B-BD42-C5EF05F1244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3429000"/>
            <a:ext cx="6096001" cy="3429000"/>
          </a:xfrm>
          <a:solidFill>
            <a:srgbClr val="D9D9D9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FontTx/>
              <a:buNone/>
              <a:defRPr sz="12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7A49372-BC99-44B1-93F3-52B055BA1B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6200" y="6429375"/>
            <a:ext cx="320040" cy="228600"/>
          </a:xfrm>
          <a:prstGeom prst="rect">
            <a:avLst/>
          </a:prstGeom>
        </p:spPr>
        <p:txBody>
          <a:bodyPr/>
          <a:lstStyle/>
          <a:p>
            <a:fld id="{B58DE5F1-E0F9-4CCA-92B7-7A6FC4DFEE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6512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Three Pictur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77D43C-8061-4F4B-A58C-537B44EA7F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760" y="365760"/>
            <a:ext cx="5428488" cy="9144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BCB52D-820B-4886-993D-F1BD3CE0A1B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5760" y="1554480"/>
            <a:ext cx="5428488" cy="4572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FB768959-B468-B74C-99C1-89889E5B1ED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1" cy="3429000"/>
          </a:xfrm>
          <a:solidFill>
            <a:srgbClr val="F2F2F2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FontTx/>
              <a:buNone/>
              <a:defRPr sz="12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Picture Placeholder 4">
            <a:extLst>
              <a:ext uri="{FF2B5EF4-FFF2-40B4-BE49-F238E27FC236}">
                <a16:creationId xmlns:a16="http://schemas.microsoft.com/office/drawing/2014/main" id="{A613A27A-887F-7D4B-BD42-C5EF05F1244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1" y="3429000"/>
            <a:ext cx="3044952" cy="3429000"/>
          </a:xfrm>
          <a:solidFill>
            <a:srgbClr val="D9D9D9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FontTx/>
              <a:buNone/>
              <a:defRPr sz="12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Picture Placeholder 5">
            <a:extLst>
              <a:ext uri="{FF2B5EF4-FFF2-40B4-BE49-F238E27FC236}">
                <a16:creationId xmlns:a16="http://schemas.microsoft.com/office/drawing/2014/main" id="{C2AB3B13-24B5-EA40-92B2-665869E4657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140953" y="3429000"/>
            <a:ext cx="3051048" cy="3429000"/>
          </a:xfrm>
          <a:solidFill>
            <a:srgbClr val="BFBFBF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FontTx/>
              <a:buNone/>
              <a:defRPr sz="12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Slide Number Placeholder 6">
            <a:extLst>
              <a:ext uri="{FF2B5EF4-FFF2-40B4-BE49-F238E27FC236}">
                <a16:creationId xmlns:a16="http://schemas.microsoft.com/office/drawing/2014/main" id="{A7A49372-BC99-44B1-93F3-52B055BA1B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6200" y="6429375"/>
            <a:ext cx="320040" cy="228600"/>
          </a:xfrm>
          <a:prstGeom prst="rect">
            <a:avLst/>
          </a:prstGeom>
        </p:spPr>
        <p:txBody>
          <a:bodyPr/>
          <a:lstStyle/>
          <a:p>
            <a:fld id="{B58DE5F1-E0F9-4CCA-92B7-7A6FC4DFEE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3152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Four Pictur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77D43C-8061-4F4B-A58C-537B44EA7F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760" y="365760"/>
            <a:ext cx="5428488" cy="9144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BCB52D-820B-4886-993D-F1BD3CE0A1B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5760" y="1554480"/>
            <a:ext cx="5428488" cy="4572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FB768959-B468-B74C-99C1-89889E5B1ED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1" cy="3429000"/>
          </a:xfrm>
          <a:solidFill>
            <a:srgbClr val="F2F2F2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FontTx/>
              <a:buNone/>
              <a:defRPr sz="12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Picture Placeholder 4">
            <a:extLst>
              <a:ext uri="{FF2B5EF4-FFF2-40B4-BE49-F238E27FC236}">
                <a16:creationId xmlns:a16="http://schemas.microsoft.com/office/drawing/2014/main" id="{A613A27A-887F-7D4B-BD42-C5EF05F1244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1" y="3429000"/>
            <a:ext cx="3044952" cy="3429000"/>
          </a:xfrm>
          <a:solidFill>
            <a:srgbClr val="D9D9D9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FontTx/>
              <a:buNone/>
              <a:defRPr sz="12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Picture Placeholder 5">
            <a:extLst>
              <a:ext uri="{FF2B5EF4-FFF2-40B4-BE49-F238E27FC236}">
                <a16:creationId xmlns:a16="http://schemas.microsoft.com/office/drawing/2014/main" id="{C2AB3B13-24B5-EA40-92B2-665869E4657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140953" y="3429000"/>
            <a:ext cx="3051048" cy="1719072"/>
          </a:xfrm>
          <a:solidFill>
            <a:srgbClr val="BFBFBF"/>
          </a:solidFill>
        </p:spPr>
        <p:txBody>
          <a:bodyPr anchor="ctr" anchorCtr="0">
            <a:normAutofit/>
          </a:bodyPr>
          <a:lstStyle>
            <a:lvl1pPr marL="0" indent="0" algn="ctr">
              <a:buFontTx/>
              <a:buNone/>
              <a:defRPr sz="12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A26BC3F3-33EB-F346-B70E-DE269C6819E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140953" y="5148072"/>
            <a:ext cx="3051048" cy="1709928"/>
          </a:xfrm>
          <a:solidFill>
            <a:srgbClr val="F2F2F2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FontTx/>
              <a:buNone/>
              <a:defRPr sz="12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Slide Number Placeholder 7">
            <a:extLst>
              <a:ext uri="{FF2B5EF4-FFF2-40B4-BE49-F238E27FC236}">
                <a16:creationId xmlns:a16="http://schemas.microsoft.com/office/drawing/2014/main" id="{A7A49372-BC99-44B1-93F3-52B055BA1B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6200" y="6429375"/>
            <a:ext cx="320040" cy="228600"/>
          </a:xfrm>
          <a:prstGeom prst="rect">
            <a:avLst/>
          </a:prstGeom>
        </p:spPr>
        <p:txBody>
          <a:bodyPr/>
          <a:lstStyle/>
          <a:p>
            <a:fld id="{B58DE5F1-E0F9-4CCA-92B7-7A6FC4DFEE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98376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Picture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12861D7D-0CE3-D447-AB46-E7F0601A9C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760" y="365760"/>
            <a:ext cx="11460481" cy="914400"/>
          </a:xfrm>
        </p:spPr>
        <p:txBody>
          <a:bodyPr/>
          <a:lstStyle/>
          <a:p>
            <a:r>
              <a:rPr lang="en-US"/>
              <a:t>[Slide title]</a:t>
            </a:r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6B9E9C5D-8364-0D47-AF90-417652D3C16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65126" y="1552575"/>
            <a:ext cx="2642616" cy="1737358"/>
          </a:xfrm>
          <a:solidFill>
            <a:srgbClr val="F2F2F2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2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D8A87F8F-2D9A-B243-A5FB-6E555C2704C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65760" y="3474720"/>
            <a:ext cx="2642616" cy="265176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5797D6E4-4FD3-FB41-AC2F-B0BC44660939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301999" y="1552575"/>
            <a:ext cx="2642616" cy="1737358"/>
          </a:xfrm>
          <a:solidFill>
            <a:srgbClr val="F2F2F2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2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A8504504-7E85-584D-A20B-448D0D56BBE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302000" y="3474720"/>
            <a:ext cx="2642616" cy="265176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Picture Placeholder 6">
            <a:extLst>
              <a:ext uri="{FF2B5EF4-FFF2-40B4-BE49-F238E27FC236}">
                <a16:creationId xmlns:a16="http://schemas.microsoft.com/office/drawing/2014/main" id="{8B42205D-9591-3C43-8A71-9811FC49A76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48400" y="1552575"/>
            <a:ext cx="2642616" cy="1737358"/>
          </a:xfrm>
          <a:solidFill>
            <a:srgbClr val="F2F2F2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2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0BC915BB-BDF2-BD44-8C3A-2C34D2A9A63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248400" y="3474720"/>
            <a:ext cx="2642616" cy="265176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Picture Placeholder 8">
            <a:extLst>
              <a:ext uri="{FF2B5EF4-FFF2-40B4-BE49-F238E27FC236}">
                <a16:creationId xmlns:a16="http://schemas.microsoft.com/office/drawing/2014/main" id="{DD93C7F7-3C80-DA48-9BC2-95DD73DF878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183624" y="1552575"/>
            <a:ext cx="2642616" cy="1737358"/>
          </a:xfrm>
          <a:solidFill>
            <a:srgbClr val="F2F2F2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2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0A585D99-3BCE-844A-8969-7E2EFD217B5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182100" y="3474720"/>
            <a:ext cx="2642616" cy="265176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10">
            <a:extLst>
              <a:ext uri="{FF2B5EF4-FFF2-40B4-BE49-F238E27FC236}">
                <a16:creationId xmlns:a16="http://schemas.microsoft.com/office/drawing/2014/main" id="{941E30D8-4EF8-495A-8824-D819A46BF9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6200" y="6429375"/>
            <a:ext cx="320040" cy="228600"/>
          </a:xfrm>
          <a:prstGeom prst="rect">
            <a:avLst/>
          </a:prstGeom>
        </p:spPr>
        <p:txBody>
          <a:bodyPr/>
          <a:lstStyle/>
          <a:p>
            <a:fld id="{B58DE5F1-E0F9-4CCA-92B7-7A6FC4DFEE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2975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pos="2080">
          <p15:clr>
            <a:srgbClr val="FBAE40"/>
          </p15:clr>
        </p15:guide>
        <p15:guide id="2" pos="1896">
          <p15:clr>
            <a:srgbClr val="FBAE40"/>
          </p15:clr>
        </p15:guide>
        <p15:guide id="3" pos="5600">
          <p15:clr>
            <a:srgbClr val="FBAE40"/>
          </p15:clr>
        </p15:guide>
        <p15:guide id="4" pos="5784">
          <p15:clr>
            <a:srgbClr val="FBAE40"/>
          </p15:clr>
        </p15:guide>
        <p15:guide id="5" pos="3744">
          <p15:clr>
            <a:srgbClr val="FBAE40"/>
          </p15:clr>
        </p15:guide>
        <p15:guide id="6" pos="3936">
          <p15:clr>
            <a:srgbClr val="FBAE40"/>
          </p15:clr>
        </p15:guide>
        <p15:guide id="7" orient="horz" pos="2074">
          <p15:clr>
            <a:srgbClr val="FBAE40"/>
          </p15:clr>
        </p15:guide>
        <p15:guide id="8" orient="horz" pos="218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On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1">
            <a:extLst>
              <a:ext uri="{FF2B5EF4-FFF2-40B4-BE49-F238E27FC236}">
                <a16:creationId xmlns:a16="http://schemas.microsoft.com/office/drawing/2014/main" id="{3F25E4DD-7BAF-CF43-9AF5-512CC54177D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" y="0"/>
            <a:ext cx="12192000" cy="6858000"/>
          </a:xfrm>
          <a:solidFill>
            <a:srgbClr val="F2F2F2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FontTx/>
              <a:buNone/>
              <a:defRPr sz="12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ADC9E62E-3AF4-C24D-8B08-8A7FCB7EDC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[Slide title]</a:t>
            </a:r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EE3D7CA1-C89E-E24C-B557-52A1F9AEBF3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506200" y="6429375"/>
            <a:ext cx="320040" cy="22860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3992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1">
            <a:extLst>
              <a:ext uri="{FF2B5EF4-FFF2-40B4-BE49-F238E27FC236}">
                <a16:creationId xmlns:a16="http://schemas.microsoft.com/office/drawing/2014/main" id="{3036AABB-FB6C-2340-8AFB-DFFA0E13AE0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758" y="365125"/>
            <a:ext cx="7539992" cy="914400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3199" b="1">
                <a:latin typeface="+mj-lt"/>
              </a:defRPr>
            </a:lvl1pPr>
            <a:lvl2pPr marL="0" indent="0" algn="l">
              <a:lnSpc>
                <a:spcPct val="90000"/>
              </a:lnSpc>
              <a:spcBef>
                <a:spcPts val="0"/>
              </a:spcBef>
              <a:buNone/>
              <a:defRPr sz="3199" b="1">
                <a:latin typeface="+mj-lt"/>
              </a:defRPr>
            </a:lvl2pPr>
            <a:lvl3pPr marL="0" indent="0" algn="l">
              <a:lnSpc>
                <a:spcPct val="90000"/>
              </a:lnSpc>
              <a:spcBef>
                <a:spcPts val="0"/>
              </a:spcBef>
              <a:buNone/>
              <a:defRPr sz="3199" b="1">
                <a:latin typeface="+mj-lt"/>
              </a:defRPr>
            </a:lvl3pPr>
            <a:lvl4pPr marL="0" indent="0" algn="l">
              <a:lnSpc>
                <a:spcPct val="90000"/>
              </a:lnSpc>
              <a:spcBef>
                <a:spcPts val="0"/>
              </a:spcBef>
              <a:buNone/>
              <a:defRPr sz="3199" b="1">
                <a:latin typeface="+mj-lt"/>
              </a:defRPr>
            </a:lvl4pPr>
            <a:lvl5pPr marL="0" indent="0" algn="l">
              <a:lnSpc>
                <a:spcPct val="90000"/>
              </a:lnSpc>
              <a:spcBef>
                <a:spcPts val="0"/>
              </a:spcBef>
              <a:buNone/>
              <a:defRPr sz="3199" b="1">
                <a:latin typeface="+mj-lt"/>
              </a:defRPr>
            </a:lvl5pPr>
            <a:lvl6pPr marL="0" indent="0" algn="l">
              <a:lnSpc>
                <a:spcPct val="90000"/>
              </a:lnSpc>
              <a:spcBef>
                <a:spcPts val="0"/>
              </a:spcBef>
              <a:buNone/>
              <a:defRPr sz="3199" b="1">
                <a:latin typeface="+mj-lt"/>
              </a:defRPr>
            </a:lvl6pPr>
            <a:lvl7pPr marL="0" indent="0" algn="l">
              <a:lnSpc>
                <a:spcPct val="90000"/>
              </a:lnSpc>
              <a:spcBef>
                <a:spcPts val="0"/>
              </a:spcBef>
              <a:buNone/>
              <a:defRPr sz="3199" b="1">
                <a:latin typeface="+mj-lt"/>
              </a:defRPr>
            </a:lvl7pPr>
            <a:lvl8pPr marL="0" indent="0" algn="l">
              <a:lnSpc>
                <a:spcPct val="90000"/>
              </a:lnSpc>
              <a:spcBef>
                <a:spcPts val="0"/>
              </a:spcBef>
              <a:buNone/>
              <a:defRPr sz="3199" b="1">
                <a:latin typeface="+mj-lt"/>
              </a:defRPr>
            </a:lvl8pPr>
            <a:lvl9pPr marL="0" indent="0" algn="l">
              <a:lnSpc>
                <a:spcPct val="90000"/>
              </a:lnSpc>
              <a:spcBef>
                <a:spcPts val="0"/>
              </a:spcBef>
              <a:buNone/>
              <a:defRPr sz="3199" b="1">
                <a:latin typeface="+mj-lt"/>
              </a:defRPr>
            </a:lvl9pPr>
          </a:lstStyle>
          <a:p>
            <a:r>
              <a:rPr lang="en-US"/>
              <a:t>[Optional section subtitle/lead-in]</a:t>
            </a: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42A20B57-9C1D-4E8F-B2A3-A6062F929C2D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65126" y="1554480"/>
            <a:ext cx="7540371" cy="2743200"/>
          </a:xfrm>
        </p:spPr>
        <p:txBody>
          <a:bodyPr anchor="t" anchorCtr="0"/>
          <a:lstStyle>
            <a:lvl1pPr>
              <a:defRPr sz="5998" b="0" spc="0" baseline="0"/>
            </a:lvl1pPr>
          </a:lstStyle>
          <a:p>
            <a:r>
              <a:rPr lang="en-US"/>
              <a:t>[Section title]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FDB1BE67-4AA2-4F98-8F15-39B4F53A1316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506200" y="6429375"/>
            <a:ext cx="320040" cy="228600"/>
          </a:xfrm>
          <a:prstGeom prst="rect">
            <a:avLst/>
          </a:prstGeom>
        </p:spPr>
        <p:txBody>
          <a:bodyPr/>
          <a:lstStyle/>
          <a:p>
            <a:fld id="{B58DE5F1-E0F9-4CCA-92B7-7A6FC4DFEE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0342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2" pos="4980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- Amber">
    <p:bg>
      <p:bgPr>
        <a:gradFill>
          <a:gsLst>
            <a:gs pos="0">
              <a:srgbClr val="FFFBF4"/>
            </a:gs>
            <a:gs pos="100000">
              <a:srgbClr val="FFECCD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1">
            <a:extLst>
              <a:ext uri="{FF2B5EF4-FFF2-40B4-BE49-F238E27FC236}">
                <a16:creationId xmlns:a16="http://schemas.microsoft.com/office/drawing/2014/main" id="{3036AABB-FB6C-2340-8AFB-DFFA0E13AE0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758" y="365125"/>
            <a:ext cx="7539992" cy="914400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3199" b="1">
                <a:latin typeface="+mj-lt"/>
              </a:defRPr>
            </a:lvl1pPr>
            <a:lvl2pPr marL="0" indent="0" algn="l">
              <a:lnSpc>
                <a:spcPct val="90000"/>
              </a:lnSpc>
              <a:spcBef>
                <a:spcPts val="0"/>
              </a:spcBef>
              <a:buNone/>
              <a:defRPr sz="3199" b="1">
                <a:latin typeface="+mj-lt"/>
              </a:defRPr>
            </a:lvl2pPr>
            <a:lvl3pPr marL="0" indent="0" algn="l">
              <a:lnSpc>
                <a:spcPct val="90000"/>
              </a:lnSpc>
              <a:spcBef>
                <a:spcPts val="0"/>
              </a:spcBef>
              <a:buNone/>
              <a:defRPr sz="3199" b="1">
                <a:latin typeface="+mj-lt"/>
              </a:defRPr>
            </a:lvl3pPr>
            <a:lvl4pPr marL="0" indent="0" algn="l">
              <a:lnSpc>
                <a:spcPct val="90000"/>
              </a:lnSpc>
              <a:spcBef>
                <a:spcPts val="0"/>
              </a:spcBef>
              <a:buNone/>
              <a:defRPr sz="3199" b="1">
                <a:latin typeface="+mj-lt"/>
              </a:defRPr>
            </a:lvl4pPr>
            <a:lvl5pPr marL="0" indent="0" algn="l">
              <a:lnSpc>
                <a:spcPct val="90000"/>
              </a:lnSpc>
              <a:spcBef>
                <a:spcPts val="0"/>
              </a:spcBef>
              <a:buNone/>
              <a:defRPr sz="3199" b="1">
                <a:latin typeface="+mj-lt"/>
              </a:defRPr>
            </a:lvl5pPr>
            <a:lvl6pPr marL="0" indent="0" algn="l">
              <a:lnSpc>
                <a:spcPct val="90000"/>
              </a:lnSpc>
              <a:spcBef>
                <a:spcPts val="0"/>
              </a:spcBef>
              <a:buNone/>
              <a:defRPr sz="3199" b="1">
                <a:latin typeface="+mj-lt"/>
              </a:defRPr>
            </a:lvl6pPr>
            <a:lvl7pPr marL="0" indent="0" algn="l">
              <a:lnSpc>
                <a:spcPct val="90000"/>
              </a:lnSpc>
              <a:spcBef>
                <a:spcPts val="0"/>
              </a:spcBef>
              <a:buNone/>
              <a:defRPr sz="3199" b="1">
                <a:latin typeface="+mj-lt"/>
              </a:defRPr>
            </a:lvl7pPr>
            <a:lvl8pPr marL="0" indent="0" algn="l">
              <a:lnSpc>
                <a:spcPct val="90000"/>
              </a:lnSpc>
              <a:spcBef>
                <a:spcPts val="0"/>
              </a:spcBef>
              <a:buNone/>
              <a:defRPr sz="3199" b="1">
                <a:latin typeface="+mj-lt"/>
              </a:defRPr>
            </a:lvl8pPr>
            <a:lvl9pPr marL="0" indent="0" algn="l">
              <a:lnSpc>
                <a:spcPct val="90000"/>
              </a:lnSpc>
              <a:spcBef>
                <a:spcPts val="0"/>
              </a:spcBef>
              <a:buNone/>
              <a:defRPr sz="3199" b="1">
                <a:latin typeface="+mj-lt"/>
              </a:defRPr>
            </a:lvl9pPr>
          </a:lstStyle>
          <a:p>
            <a:r>
              <a:rPr lang="en-US"/>
              <a:t>[Optional section subtitle/lead-in]</a:t>
            </a: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42A20B57-9C1D-4E8F-B2A3-A6062F929C2D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65126" y="1554480"/>
            <a:ext cx="7540371" cy="2743200"/>
          </a:xfrm>
        </p:spPr>
        <p:txBody>
          <a:bodyPr anchor="t" anchorCtr="0"/>
          <a:lstStyle>
            <a:lvl1pPr>
              <a:defRPr sz="5998" b="0" spc="0" baseline="0"/>
            </a:lvl1pPr>
          </a:lstStyle>
          <a:p>
            <a:r>
              <a:rPr lang="en-US"/>
              <a:t>[Section title]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FDB1BE67-4AA2-4F98-8F15-39B4F53A1316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506200" y="6429375"/>
            <a:ext cx="320040" cy="228600"/>
          </a:xfrm>
          <a:prstGeom prst="rect">
            <a:avLst/>
          </a:prstGeom>
        </p:spPr>
        <p:txBody>
          <a:bodyPr/>
          <a:lstStyle/>
          <a:p>
            <a:fld id="{B58DE5F1-E0F9-4CCA-92B7-7A6FC4DFEE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06761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2" pos="4980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- Peach">
    <p:bg>
      <p:bgPr>
        <a:gradFill>
          <a:gsLst>
            <a:gs pos="0">
              <a:srgbClr val="FFF7F3"/>
            </a:gs>
            <a:gs pos="100000">
              <a:srgbClr val="FEDCCA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1">
            <a:extLst>
              <a:ext uri="{FF2B5EF4-FFF2-40B4-BE49-F238E27FC236}">
                <a16:creationId xmlns:a16="http://schemas.microsoft.com/office/drawing/2014/main" id="{3036AABB-FB6C-2340-8AFB-DFFA0E13AE0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758" y="365125"/>
            <a:ext cx="7539992" cy="914400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3199" b="1">
                <a:latin typeface="+mj-lt"/>
              </a:defRPr>
            </a:lvl1pPr>
            <a:lvl2pPr marL="0" indent="0" algn="l">
              <a:lnSpc>
                <a:spcPct val="90000"/>
              </a:lnSpc>
              <a:spcBef>
                <a:spcPts val="0"/>
              </a:spcBef>
              <a:buNone/>
              <a:defRPr sz="3199" b="1">
                <a:latin typeface="+mj-lt"/>
              </a:defRPr>
            </a:lvl2pPr>
            <a:lvl3pPr marL="0" indent="0" algn="l">
              <a:lnSpc>
                <a:spcPct val="90000"/>
              </a:lnSpc>
              <a:spcBef>
                <a:spcPts val="0"/>
              </a:spcBef>
              <a:buNone/>
              <a:defRPr sz="3199" b="1">
                <a:latin typeface="+mj-lt"/>
              </a:defRPr>
            </a:lvl3pPr>
            <a:lvl4pPr marL="0" indent="0" algn="l">
              <a:lnSpc>
                <a:spcPct val="90000"/>
              </a:lnSpc>
              <a:spcBef>
                <a:spcPts val="0"/>
              </a:spcBef>
              <a:buNone/>
              <a:defRPr sz="3199" b="1">
                <a:latin typeface="+mj-lt"/>
              </a:defRPr>
            </a:lvl4pPr>
            <a:lvl5pPr marL="0" indent="0" algn="l">
              <a:lnSpc>
                <a:spcPct val="90000"/>
              </a:lnSpc>
              <a:spcBef>
                <a:spcPts val="0"/>
              </a:spcBef>
              <a:buNone/>
              <a:defRPr sz="3199" b="1">
                <a:latin typeface="+mj-lt"/>
              </a:defRPr>
            </a:lvl5pPr>
            <a:lvl6pPr marL="0" indent="0" algn="l">
              <a:lnSpc>
                <a:spcPct val="90000"/>
              </a:lnSpc>
              <a:spcBef>
                <a:spcPts val="0"/>
              </a:spcBef>
              <a:buNone/>
              <a:defRPr sz="3199" b="1">
                <a:latin typeface="+mj-lt"/>
              </a:defRPr>
            </a:lvl6pPr>
            <a:lvl7pPr marL="0" indent="0" algn="l">
              <a:lnSpc>
                <a:spcPct val="90000"/>
              </a:lnSpc>
              <a:spcBef>
                <a:spcPts val="0"/>
              </a:spcBef>
              <a:buNone/>
              <a:defRPr sz="3199" b="1">
                <a:latin typeface="+mj-lt"/>
              </a:defRPr>
            </a:lvl7pPr>
            <a:lvl8pPr marL="0" indent="0" algn="l">
              <a:lnSpc>
                <a:spcPct val="90000"/>
              </a:lnSpc>
              <a:spcBef>
                <a:spcPts val="0"/>
              </a:spcBef>
              <a:buNone/>
              <a:defRPr sz="3199" b="1">
                <a:latin typeface="+mj-lt"/>
              </a:defRPr>
            </a:lvl8pPr>
            <a:lvl9pPr marL="0" indent="0" algn="l">
              <a:lnSpc>
                <a:spcPct val="90000"/>
              </a:lnSpc>
              <a:spcBef>
                <a:spcPts val="0"/>
              </a:spcBef>
              <a:buNone/>
              <a:defRPr sz="3199" b="1">
                <a:latin typeface="+mj-lt"/>
              </a:defRPr>
            </a:lvl9pPr>
          </a:lstStyle>
          <a:p>
            <a:r>
              <a:rPr lang="en-US"/>
              <a:t>[Optional section subtitle/lead-in]</a:t>
            </a: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42A20B57-9C1D-4E8F-B2A3-A6062F929C2D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65126" y="1554480"/>
            <a:ext cx="7540371" cy="2743200"/>
          </a:xfrm>
        </p:spPr>
        <p:txBody>
          <a:bodyPr anchor="t" anchorCtr="0"/>
          <a:lstStyle>
            <a:lvl1pPr>
              <a:defRPr sz="5998" b="0" spc="0" baseline="0"/>
            </a:lvl1pPr>
          </a:lstStyle>
          <a:p>
            <a:r>
              <a:rPr lang="en-US"/>
              <a:t>[Section title]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FDB1BE67-4AA2-4F98-8F15-39B4F53A1316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506200" y="6429375"/>
            <a:ext cx="320040" cy="228600"/>
          </a:xfrm>
          <a:prstGeom prst="rect">
            <a:avLst/>
          </a:prstGeom>
        </p:spPr>
        <p:txBody>
          <a:bodyPr/>
          <a:lstStyle/>
          <a:p>
            <a:fld id="{B58DE5F1-E0F9-4CCA-92B7-7A6FC4DFEE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55200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2" pos="4980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- Olive">
    <p:bg>
      <p:bgPr>
        <a:gradFill>
          <a:gsLst>
            <a:gs pos="0">
              <a:srgbClr val="FAF6F3"/>
            </a:gs>
            <a:gs pos="100000">
              <a:srgbClr val="EAD5C9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1">
            <a:extLst>
              <a:ext uri="{FF2B5EF4-FFF2-40B4-BE49-F238E27FC236}">
                <a16:creationId xmlns:a16="http://schemas.microsoft.com/office/drawing/2014/main" id="{3036AABB-FB6C-2340-8AFB-DFFA0E13AE0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758" y="365125"/>
            <a:ext cx="7539992" cy="914400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3199" b="1">
                <a:latin typeface="+mj-lt"/>
              </a:defRPr>
            </a:lvl1pPr>
            <a:lvl2pPr marL="0" indent="0" algn="l">
              <a:lnSpc>
                <a:spcPct val="90000"/>
              </a:lnSpc>
              <a:spcBef>
                <a:spcPts val="0"/>
              </a:spcBef>
              <a:buNone/>
              <a:defRPr sz="3199" b="1">
                <a:latin typeface="+mj-lt"/>
              </a:defRPr>
            </a:lvl2pPr>
            <a:lvl3pPr marL="0" indent="0" algn="l">
              <a:lnSpc>
                <a:spcPct val="90000"/>
              </a:lnSpc>
              <a:spcBef>
                <a:spcPts val="0"/>
              </a:spcBef>
              <a:buNone/>
              <a:defRPr sz="3199" b="1">
                <a:latin typeface="+mj-lt"/>
              </a:defRPr>
            </a:lvl3pPr>
            <a:lvl4pPr marL="0" indent="0" algn="l">
              <a:lnSpc>
                <a:spcPct val="90000"/>
              </a:lnSpc>
              <a:spcBef>
                <a:spcPts val="0"/>
              </a:spcBef>
              <a:buNone/>
              <a:defRPr sz="3199" b="1">
                <a:latin typeface="+mj-lt"/>
              </a:defRPr>
            </a:lvl4pPr>
            <a:lvl5pPr marL="0" indent="0" algn="l">
              <a:lnSpc>
                <a:spcPct val="90000"/>
              </a:lnSpc>
              <a:spcBef>
                <a:spcPts val="0"/>
              </a:spcBef>
              <a:buNone/>
              <a:defRPr sz="3199" b="1">
                <a:latin typeface="+mj-lt"/>
              </a:defRPr>
            </a:lvl5pPr>
            <a:lvl6pPr marL="0" indent="0" algn="l">
              <a:lnSpc>
                <a:spcPct val="90000"/>
              </a:lnSpc>
              <a:spcBef>
                <a:spcPts val="0"/>
              </a:spcBef>
              <a:buNone/>
              <a:defRPr sz="3199" b="1">
                <a:latin typeface="+mj-lt"/>
              </a:defRPr>
            </a:lvl6pPr>
            <a:lvl7pPr marL="0" indent="0" algn="l">
              <a:lnSpc>
                <a:spcPct val="90000"/>
              </a:lnSpc>
              <a:spcBef>
                <a:spcPts val="0"/>
              </a:spcBef>
              <a:buNone/>
              <a:defRPr sz="3199" b="1">
                <a:latin typeface="+mj-lt"/>
              </a:defRPr>
            </a:lvl7pPr>
            <a:lvl8pPr marL="0" indent="0" algn="l">
              <a:lnSpc>
                <a:spcPct val="90000"/>
              </a:lnSpc>
              <a:spcBef>
                <a:spcPts val="0"/>
              </a:spcBef>
              <a:buNone/>
              <a:defRPr sz="3199" b="1">
                <a:latin typeface="+mj-lt"/>
              </a:defRPr>
            </a:lvl8pPr>
            <a:lvl9pPr marL="0" indent="0" algn="l">
              <a:lnSpc>
                <a:spcPct val="90000"/>
              </a:lnSpc>
              <a:spcBef>
                <a:spcPts val="0"/>
              </a:spcBef>
              <a:buNone/>
              <a:defRPr sz="3199" b="1">
                <a:latin typeface="+mj-lt"/>
              </a:defRPr>
            </a:lvl9pPr>
          </a:lstStyle>
          <a:p>
            <a:r>
              <a:rPr lang="en-US"/>
              <a:t>[Optional section subtitle/lead-in]</a:t>
            </a: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42A20B57-9C1D-4E8F-B2A3-A6062F929C2D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65126" y="1554480"/>
            <a:ext cx="7540371" cy="2743200"/>
          </a:xfrm>
        </p:spPr>
        <p:txBody>
          <a:bodyPr anchor="t" anchorCtr="0"/>
          <a:lstStyle>
            <a:lvl1pPr>
              <a:defRPr sz="5998" b="0" spc="0" baseline="0"/>
            </a:lvl1pPr>
          </a:lstStyle>
          <a:p>
            <a:r>
              <a:rPr lang="en-US"/>
              <a:t>[Section title]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FDB1BE67-4AA2-4F98-8F15-39B4F53A1316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506200" y="6429375"/>
            <a:ext cx="320040" cy="228600"/>
          </a:xfrm>
          <a:prstGeom prst="rect">
            <a:avLst/>
          </a:prstGeom>
        </p:spPr>
        <p:txBody>
          <a:bodyPr/>
          <a:lstStyle/>
          <a:p>
            <a:fld id="{B58DE5F1-E0F9-4CCA-92B7-7A6FC4DFEE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07715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2" pos="498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12861D7D-0CE3-D447-AB46-E7F0601A9C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760" y="365760"/>
            <a:ext cx="11460480" cy="914400"/>
          </a:xfrm>
        </p:spPr>
        <p:txBody>
          <a:bodyPr/>
          <a:lstStyle/>
          <a:p>
            <a:r>
              <a:rPr lang="en-US"/>
              <a:t>[Slide title]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8D83941-3469-4946-BCE6-FA84F7323A0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65760" y="1554480"/>
            <a:ext cx="2642617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38A127C-C71C-410F-8BEA-B1AA4E4DB59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302003" y="1554480"/>
            <a:ext cx="2641598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48592F68-1A92-1442-9565-3EF907A57B3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248400" y="1554480"/>
            <a:ext cx="26416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5">
            <a:extLst>
              <a:ext uri="{FF2B5EF4-FFF2-40B4-BE49-F238E27FC236}">
                <a16:creationId xmlns:a16="http://schemas.microsoft.com/office/drawing/2014/main" id="{04198CF4-E51B-2147-88D7-1228A1479BF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9183623" y="1554480"/>
            <a:ext cx="2642617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41E30D8-4EF8-495A-8824-D819A46BF9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6200" y="6429375"/>
            <a:ext cx="320041" cy="228600"/>
          </a:xfrm>
          <a:prstGeom prst="rect">
            <a:avLst/>
          </a:prstGeom>
        </p:spPr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0835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080">
          <p15:clr>
            <a:srgbClr val="FBAE40"/>
          </p15:clr>
        </p15:guide>
        <p15:guide id="2" pos="1897">
          <p15:clr>
            <a:srgbClr val="FBAE40"/>
          </p15:clr>
        </p15:guide>
        <p15:guide id="3" pos="5600">
          <p15:clr>
            <a:srgbClr val="FBAE40"/>
          </p15:clr>
        </p15:guide>
        <p15:guide id="4" pos="5785">
          <p15:clr>
            <a:srgbClr val="FBAE40"/>
          </p15:clr>
        </p15:guide>
        <p15:guide id="5" pos="3744">
          <p15:clr>
            <a:srgbClr val="FBAE40"/>
          </p15:clr>
        </p15:guide>
        <p15:guide id="6" pos="3936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- Almond">
    <p:bg>
      <p:bgPr>
        <a:gradFill>
          <a:gsLst>
            <a:gs pos="0">
              <a:srgbClr val="F8F3F1"/>
            </a:gs>
            <a:gs pos="100000">
              <a:srgbClr val="DFCBC3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1">
            <a:extLst>
              <a:ext uri="{FF2B5EF4-FFF2-40B4-BE49-F238E27FC236}">
                <a16:creationId xmlns:a16="http://schemas.microsoft.com/office/drawing/2014/main" id="{3036AABB-FB6C-2340-8AFB-DFFA0E13AE0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758" y="365125"/>
            <a:ext cx="7539992" cy="914400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3199" b="1">
                <a:latin typeface="+mj-lt"/>
              </a:defRPr>
            </a:lvl1pPr>
            <a:lvl2pPr marL="0" indent="0" algn="l">
              <a:lnSpc>
                <a:spcPct val="90000"/>
              </a:lnSpc>
              <a:spcBef>
                <a:spcPts val="0"/>
              </a:spcBef>
              <a:buNone/>
              <a:defRPr sz="3199" b="1">
                <a:latin typeface="+mj-lt"/>
              </a:defRPr>
            </a:lvl2pPr>
            <a:lvl3pPr marL="0" indent="0" algn="l">
              <a:lnSpc>
                <a:spcPct val="90000"/>
              </a:lnSpc>
              <a:spcBef>
                <a:spcPts val="0"/>
              </a:spcBef>
              <a:buNone/>
              <a:defRPr sz="3199" b="1">
                <a:latin typeface="+mj-lt"/>
              </a:defRPr>
            </a:lvl3pPr>
            <a:lvl4pPr marL="0" indent="0" algn="l">
              <a:lnSpc>
                <a:spcPct val="90000"/>
              </a:lnSpc>
              <a:spcBef>
                <a:spcPts val="0"/>
              </a:spcBef>
              <a:buNone/>
              <a:defRPr sz="3199" b="1">
                <a:latin typeface="+mj-lt"/>
              </a:defRPr>
            </a:lvl4pPr>
            <a:lvl5pPr marL="0" indent="0" algn="l">
              <a:lnSpc>
                <a:spcPct val="90000"/>
              </a:lnSpc>
              <a:spcBef>
                <a:spcPts val="0"/>
              </a:spcBef>
              <a:buNone/>
              <a:defRPr sz="3199" b="1">
                <a:latin typeface="+mj-lt"/>
              </a:defRPr>
            </a:lvl5pPr>
            <a:lvl6pPr marL="0" indent="0" algn="l">
              <a:lnSpc>
                <a:spcPct val="90000"/>
              </a:lnSpc>
              <a:spcBef>
                <a:spcPts val="0"/>
              </a:spcBef>
              <a:buNone/>
              <a:defRPr sz="3199" b="1">
                <a:latin typeface="+mj-lt"/>
              </a:defRPr>
            </a:lvl6pPr>
            <a:lvl7pPr marL="0" indent="0" algn="l">
              <a:lnSpc>
                <a:spcPct val="90000"/>
              </a:lnSpc>
              <a:spcBef>
                <a:spcPts val="0"/>
              </a:spcBef>
              <a:buNone/>
              <a:defRPr sz="3199" b="1">
                <a:latin typeface="+mj-lt"/>
              </a:defRPr>
            </a:lvl7pPr>
            <a:lvl8pPr marL="0" indent="0" algn="l">
              <a:lnSpc>
                <a:spcPct val="90000"/>
              </a:lnSpc>
              <a:spcBef>
                <a:spcPts val="0"/>
              </a:spcBef>
              <a:buNone/>
              <a:defRPr sz="3199" b="1">
                <a:latin typeface="+mj-lt"/>
              </a:defRPr>
            </a:lvl8pPr>
            <a:lvl9pPr marL="0" indent="0" algn="l">
              <a:lnSpc>
                <a:spcPct val="90000"/>
              </a:lnSpc>
              <a:spcBef>
                <a:spcPts val="0"/>
              </a:spcBef>
              <a:buNone/>
              <a:defRPr sz="3199" b="1">
                <a:latin typeface="+mj-lt"/>
              </a:defRPr>
            </a:lvl9pPr>
          </a:lstStyle>
          <a:p>
            <a:r>
              <a:rPr lang="en-US"/>
              <a:t>[Optional section subtitle/lead-in]</a:t>
            </a: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42A20B57-9C1D-4E8F-B2A3-A6062F929C2D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65126" y="1554480"/>
            <a:ext cx="7540371" cy="2743200"/>
          </a:xfrm>
        </p:spPr>
        <p:txBody>
          <a:bodyPr anchor="t" anchorCtr="0"/>
          <a:lstStyle>
            <a:lvl1pPr>
              <a:defRPr sz="5998" b="0" spc="0" baseline="0"/>
            </a:lvl1pPr>
          </a:lstStyle>
          <a:p>
            <a:r>
              <a:rPr lang="en-US"/>
              <a:t>[Section title]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FDB1BE67-4AA2-4F98-8F15-39B4F53A1316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506200" y="6429375"/>
            <a:ext cx="320040" cy="228600"/>
          </a:xfrm>
          <a:prstGeom prst="rect">
            <a:avLst/>
          </a:prstGeom>
        </p:spPr>
        <p:txBody>
          <a:bodyPr/>
          <a:lstStyle/>
          <a:p>
            <a:fld id="{B58DE5F1-E0F9-4CCA-92B7-7A6FC4DFEE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3489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2" pos="4980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- Sienna">
    <p:bg>
      <p:bgPr>
        <a:gradFill>
          <a:gsLst>
            <a:gs pos="0">
              <a:srgbClr val="F5F0F0"/>
            </a:gs>
            <a:gs pos="100000">
              <a:srgbClr val="DAC5C5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1">
            <a:extLst>
              <a:ext uri="{FF2B5EF4-FFF2-40B4-BE49-F238E27FC236}">
                <a16:creationId xmlns:a16="http://schemas.microsoft.com/office/drawing/2014/main" id="{3036AABB-FB6C-2340-8AFB-DFFA0E13AE0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758" y="365125"/>
            <a:ext cx="7539992" cy="914400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3199" b="1">
                <a:latin typeface="+mj-lt"/>
              </a:defRPr>
            </a:lvl1pPr>
            <a:lvl2pPr marL="0" indent="0" algn="l">
              <a:lnSpc>
                <a:spcPct val="90000"/>
              </a:lnSpc>
              <a:spcBef>
                <a:spcPts val="0"/>
              </a:spcBef>
              <a:buNone/>
              <a:defRPr sz="3199" b="1">
                <a:latin typeface="+mj-lt"/>
              </a:defRPr>
            </a:lvl2pPr>
            <a:lvl3pPr marL="0" indent="0" algn="l">
              <a:lnSpc>
                <a:spcPct val="90000"/>
              </a:lnSpc>
              <a:spcBef>
                <a:spcPts val="0"/>
              </a:spcBef>
              <a:buNone/>
              <a:defRPr sz="3199" b="1">
                <a:latin typeface="+mj-lt"/>
              </a:defRPr>
            </a:lvl3pPr>
            <a:lvl4pPr marL="0" indent="0" algn="l">
              <a:lnSpc>
                <a:spcPct val="90000"/>
              </a:lnSpc>
              <a:spcBef>
                <a:spcPts val="0"/>
              </a:spcBef>
              <a:buNone/>
              <a:defRPr sz="3199" b="1">
                <a:latin typeface="+mj-lt"/>
              </a:defRPr>
            </a:lvl4pPr>
            <a:lvl5pPr marL="0" indent="0" algn="l">
              <a:lnSpc>
                <a:spcPct val="90000"/>
              </a:lnSpc>
              <a:spcBef>
                <a:spcPts val="0"/>
              </a:spcBef>
              <a:buNone/>
              <a:defRPr sz="3199" b="1">
                <a:latin typeface="+mj-lt"/>
              </a:defRPr>
            </a:lvl5pPr>
            <a:lvl6pPr marL="0" indent="0" algn="l">
              <a:lnSpc>
                <a:spcPct val="90000"/>
              </a:lnSpc>
              <a:spcBef>
                <a:spcPts val="0"/>
              </a:spcBef>
              <a:buNone/>
              <a:defRPr sz="3199" b="1">
                <a:latin typeface="+mj-lt"/>
              </a:defRPr>
            </a:lvl6pPr>
            <a:lvl7pPr marL="0" indent="0" algn="l">
              <a:lnSpc>
                <a:spcPct val="90000"/>
              </a:lnSpc>
              <a:spcBef>
                <a:spcPts val="0"/>
              </a:spcBef>
              <a:buNone/>
              <a:defRPr sz="3199" b="1">
                <a:latin typeface="+mj-lt"/>
              </a:defRPr>
            </a:lvl7pPr>
            <a:lvl8pPr marL="0" indent="0" algn="l">
              <a:lnSpc>
                <a:spcPct val="90000"/>
              </a:lnSpc>
              <a:spcBef>
                <a:spcPts val="0"/>
              </a:spcBef>
              <a:buNone/>
              <a:defRPr sz="3199" b="1">
                <a:latin typeface="+mj-lt"/>
              </a:defRPr>
            </a:lvl8pPr>
            <a:lvl9pPr marL="0" indent="0" algn="l">
              <a:lnSpc>
                <a:spcPct val="90000"/>
              </a:lnSpc>
              <a:spcBef>
                <a:spcPts val="0"/>
              </a:spcBef>
              <a:buNone/>
              <a:defRPr sz="3199" b="1">
                <a:latin typeface="+mj-lt"/>
              </a:defRPr>
            </a:lvl9pPr>
          </a:lstStyle>
          <a:p>
            <a:r>
              <a:rPr lang="en-US"/>
              <a:t>[Optional section subtitle/lead-in]</a:t>
            </a: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42A20B57-9C1D-4E8F-B2A3-A6062F929C2D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65126" y="1554480"/>
            <a:ext cx="7540371" cy="2743200"/>
          </a:xfrm>
        </p:spPr>
        <p:txBody>
          <a:bodyPr anchor="t" anchorCtr="0"/>
          <a:lstStyle>
            <a:lvl1pPr>
              <a:defRPr sz="5998" b="0" spc="0" baseline="0"/>
            </a:lvl1pPr>
          </a:lstStyle>
          <a:p>
            <a:r>
              <a:rPr lang="en-US"/>
              <a:t>[Section title]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FDB1BE67-4AA2-4F98-8F15-39B4F53A1316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506200" y="6429375"/>
            <a:ext cx="320040" cy="228600"/>
          </a:xfrm>
          <a:prstGeom prst="rect">
            <a:avLst/>
          </a:prstGeom>
        </p:spPr>
        <p:txBody>
          <a:bodyPr/>
          <a:lstStyle/>
          <a:p>
            <a:fld id="{B58DE5F1-E0F9-4CCA-92B7-7A6FC4DFEE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034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2" pos="4980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- Chocolate">
    <p:bg>
      <p:bgPr>
        <a:gradFill>
          <a:gsLst>
            <a:gs pos="0">
              <a:srgbClr val="F6F4F3"/>
            </a:gs>
            <a:gs pos="100000">
              <a:srgbClr val="D2CAC8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1">
            <a:extLst>
              <a:ext uri="{FF2B5EF4-FFF2-40B4-BE49-F238E27FC236}">
                <a16:creationId xmlns:a16="http://schemas.microsoft.com/office/drawing/2014/main" id="{3036AABB-FB6C-2340-8AFB-DFFA0E13AE0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758" y="365125"/>
            <a:ext cx="7539992" cy="914400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3199" b="1">
                <a:latin typeface="+mj-lt"/>
              </a:defRPr>
            </a:lvl1pPr>
            <a:lvl2pPr marL="0" indent="0" algn="l">
              <a:lnSpc>
                <a:spcPct val="90000"/>
              </a:lnSpc>
              <a:spcBef>
                <a:spcPts val="0"/>
              </a:spcBef>
              <a:buNone/>
              <a:defRPr sz="3199" b="1">
                <a:latin typeface="+mj-lt"/>
              </a:defRPr>
            </a:lvl2pPr>
            <a:lvl3pPr marL="0" indent="0" algn="l">
              <a:lnSpc>
                <a:spcPct val="90000"/>
              </a:lnSpc>
              <a:spcBef>
                <a:spcPts val="0"/>
              </a:spcBef>
              <a:buNone/>
              <a:defRPr sz="3199" b="1">
                <a:latin typeface="+mj-lt"/>
              </a:defRPr>
            </a:lvl3pPr>
            <a:lvl4pPr marL="0" indent="0" algn="l">
              <a:lnSpc>
                <a:spcPct val="90000"/>
              </a:lnSpc>
              <a:spcBef>
                <a:spcPts val="0"/>
              </a:spcBef>
              <a:buNone/>
              <a:defRPr sz="3199" b="1">
                <a:latin typeface="+mj-lt"/>
              </a:defRPr>
            </a:lvl4pPr>
            <a:lvl5pPr marL="0" indent="0" algn="l">
              <a:lnSpc>
                <a:spcPct val="90000"/>
              </a:lnSpc>
              <a:spcBef>
                <a:spcPts val="0"/>
              </a:spcBef>
              <a:buNone/>
              <a:defRPr sz="3199" b="1">
                <a:latin typeface="+mj-lt"/>
              </a:defRPr>
            </a:lvl5pPr>
            <a:lvl6pPr marL="0" indent="0" algn="l">
              <a:lnSpc>
                <a:spcPct val="90000"/>
              </a:lnSpc>
              <a:spcBef>
                <a:spcPts val="0"/>
              </a:spcBef>
              <a:buNone/>
              <a:defRPr sz="3199" b="1">
                <a:latin typeface="+mj-lt"/>
              </a:defRPr>
            </a:lvl6pPr>
            <a:lvl7pPr marL="0" indent="0" algn="l">
              <a:lnSpc>
                <a:spcPct val="90000"/>
              </a:lnSpc>
              <a:spcBef>
                <a:spcPts val="0"/>
              </a:spcBef>
              <a:buNone/>
              <a:defRPr sz="3199" b="1">
                <a:latin typeface="+mj-lt"/>
              </a:defRPr>
            </a:lvl7pPr>
            <a:lvl8pPr marL="0" indent="0" algn="l">
              <a:lnSpc>
                <a:spcPct val="90000"/>
              </a:lnSpc>
              <a:spcBef>
                <a:spcPts val="0"/>
              </a:spcBef>
              <a:buNone/>
              <a:defRPr sz="3199" b="1">
                <a:latin typeface="+mj-lt"/>
              </a:defRPr>
            </a:lvl8pPr>
            <a:lvl9pPr marL="0" indent="0" algn="l">
              <a:lnSpc>
                <a:spcPct val="90000"/>
              </a:lnSpc>
              <a:spcBef>
                <a:spcPts val="0"/>
              </a:spcBef>
              <a:buNone/>
              <a:defRPr sz="3199" b="1">
                <a:latin typeface="+mj-lt"/>
              </a:defRPr>
            </a:lvl9pPr>
          </a:lstStyle>
          <a:p>
            <a:r>
              <a:rPr lang="en-US"/>
              <a:t>[Optional section subtitle/lead-in]</a:t>
            </a: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42A20B57-9C1D-4E8F-B2A3-A6062F929C2D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65126" y="1554480"/>
            <a:ext cx="7540371" cy="2743200"/>
          </a:xfrm>
        </p:spPr>
        <p:txBody>
          <a:bodyPr anchor="t" anchorCtr="0"/>
          <a:lstStyle>
            <a:lvl1pPr>
              <a:defRPr sz="5998" b="0" spc="0" baseline="0"/>
            </a:lvl1pPr>
          </a:lstStyle>
          <a:p>
            <a:r>
              <a:rPr lang="en-US"/>
              <a:t>[Section title]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FDB1BE67-4AA2-4F98-8F15-39B4F53A1316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506200" y="6429375"/>
            <a:ext cx="320040" cy="228600"/>
          </a:xfrm>
          <a:prstGeom prst="rect">
            <a:avLst/>
          </a:prstGeom>
        </p:spPr>
        <p:txBody>
          <a:bodyPr/>
          <a:lstStyle/>
          <a:p>
            <a:fld id="{B58DE5F1-E0F9-4CCA-92B7-7A6FC4DFEE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5746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2" pos="4980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- Mint">
    <p:bg>
      <p:bgPr>
        <a:gradFill>
          <a:gsLst>
            <a:gs pos="0">
              <a:srgbClr val="F2FFF9"/>
            </a:gs>
            <a:gs pos="100000">
              <a:srgbClr val="C5FFE6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1">
            <a:extLst>
              <a:ext uri="{FF2B5EF4-FFF2-40B4-BE49-F238E27FC236}">
                <a16:creationId xmlns:a16="http://schemas.microsoft.com/office/drawing/2014/main" id="{3036AABB-FB6C-2340-8AFB-DFFA0E13AE0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758" y="365125"/>
            <a:ext cx="7539992" cy="914400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3199" b="1">
                <a:latin typeface="+mj-lt"/>
              </a:defRPr>
            </a:lvl1pPr>
            <a:lvl2pPr marL="0" indent="0" algn="l">
              <a:lnSpc>
                <a:spcPct val="90000"/>
              </a:lnSpc>
              <a:spcBef>
                <a:spcPts val="0"/>
              </a:spcBef>
              <a:buNone/>
              <a:defRPr sz="3199" b="1">
                <a:latin typeface="+mj-lt"/>
              </a:defRPr>
            </a:lvl2pPr>
            <a:lvl3pPr marL="0" indent="0" algn="l">
              <a:lnSpc>
                <a:spcPct val="90000"/>
              </a:lnSpc>
              <a:spcBef>
                <a:spcPts val="0"/>
              </a:spcBef>
              <a:buNone/>
              <a:defRPr sz="3199" b="1">
                <a:latin typeface="+mj-lt"/>
              </a:defRPr>
            </a:lvl3pPr>
            <a:lvl4pPr marL="0" indent="0" algn="l">
              <a:lnSpc>
                <a:spcPct val="90000"/>
              </a:lnSpc>
              <a:spcBef>
                <a:spcPts val="0"/>
              </a:spcBef>
              <a:buNone/>
              <a:defRPr sz="3199" b="1">
                <a:latin typeface="+mj-lt"/>
              </a:defRPr>
            </a:lvl4pPr>
            <a:lvl5pPr marL="0" indent="0" algn="l">
              <a:lnSpc>
                <a:spcPct val="90000"/>
              </a:lnSpc>
              <a:spcBef>
                <a:spcPts val="0"/>
              </a:spcBef>
              <a:buNone/>
              <a:defRPr sz="3199" b="1">
                <a:latin typeface="+mj-lt"/>
              </a:defRPr>
            </a:lvl5pPr>
            <a:lvl6pPr marL="0" indent="0" algn="l">
              <a:lnSpc>
                <a:spcPct val="90000"/>
              </a:lnSpc>
              <a:spcBef>
                <a:spcPts val="0"/>
              </a:spcBef>
              <a:buNone/>
              <a:defRPr sz="3199" b="1">
                <a:latin typeface="+mj-lt"/>
              </a:defRPr>
            </a:lvl6pPr>
            <a:lvl7pPr marL="0" indent="0" algn="l">
              <a:lnSpc>
                <a:spcPct val="90000"/>
              </a:lnSpc>
              <a:spcBef>
                <a:spcPts val="0"/>
              </a:spcBef>
              <a:buNone/>
              <a:defRPr sz="3199" b="1">
                <a:latin typeface="+mj-lt"/>
              </a:defRPr>
            </a:lvl7pPr>
            <a:lvl8pPr marL="0" indent="0" algn="l">
              <a:lnSpc>
                <a:spcPct val="90000"/>
              </a:lnSpc>
              <a:spcBef>
                <a:spcPts val="0"/>
              </a:spcBef>
              <a:buNone/>
              <a:defRPr sz="3199" b="1">
                <a:latin typeface="+mj-lt"/>
              </a:defRPr>
            </a:lvl8pPr>
            <a:lvl9pPr marL="0" indent="0" algn="l">
              <a:lnSpc>
                <a:spcPct val="90000"/>
              </a:lnSpc>
              <a:spcBef>
                <a:spcPts val="0"/>
              </a:spcBef>
              <a:buNone/>
              <a:defRPr sz="3199" b="1">
                <a:latin typeface="+mj-lt"/>
              </a:defRPr>
            </a:lvl9pPr>
          </a:lstStyle>
          <a:p>
            <a:r>
              <a:rPr lang="en-US"/>
              <a:t>[Optional section subtitle/lead-in]</a:t>
            </a: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42A20B57-9C1D-4E8F-B2A3-A6062F929C2D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65126" y="1554480"/>
            <a:ext cx="7540371" cy="2743200"/>
          </a:xfrm>
        </p:spPr>
        <p:txBody>
          <a:bodyPr anchor="t" anchorCtr="0"/>
          <a:lstStyle>
            <a:lvl1pPr>
              <a:defRPr sz="5998" b="0" spc="0" baseline="0"/>
            </a:lvl1pPr>
          </a:lstStyle>
          <a:p>
            <a:r>
              <a:rPr lang="en-US"/>
              <a:t>[Section title]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FDB1BE67-4AA2-4F98-8F15-39B4F53A1316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506200" y="6429375"/>
            <a:ext cx="320040" cy="228600"/>
          </a:xfrm>
          <a:prstGeom prst="rect">
            <a:avLst/>
          </a:prstGeom>
        </p:spPr>
        <p:txBody>
          <a:bodyPr/>
          <a:lstStyle/>
          <a:p>
            <a:fld id="{B58DE5F1-E0F9-4CCA-92B7-7A6FC4DFEE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29113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2" pos="4980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- Aqua">
    <p:bg>
      <p:bgPr>
        <a:gradFill>
          <a:gsLst>
            <a:gs pos="0">
              <a:srgbClr val="EFFCFE"/>
            </a:gs>
            <a:gs pos="100000">
              <a:srgbClr val="C0F2FB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1">
            <a:extLst>
              <a:ext uri="{FF2B5EF4-FFF2-40B4-BE49-F238E27FC236}">
                <a16:creationId xmlns:a16="http://schemas.microsoft.com/office/drawing/2014/main" id="{3036AABB-FB6C-2340-8AFB-DFFA0E13AE0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758" y="365125"/>
            <a:ext cx="7539992" cy="914400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3199" b="1">
                <a:latin typeface="+mj-lt"/>
              </a:defRPr>
            </a:lvl1pPr>
            <a:lvl2pPr marL="0" indent="0" algn="l">
              <a:lnSpc>
                <a:spcPct val="90000"/>
              </a:lnSpc>
              <a:spcBef>
                <a:spcPts val="0"/>
              </a:spcBef>
              <a:buNone/>
              <a:defRPr sz="3199" b="1">
                <a:latin typeface="+mj-lt"/>
              </a:defRPr>
            </a:lvl2pPr>
            <a:lvl3pPr marL="0" indent="0" algn="l">
              <a:lnSpc>
                <a:spcPct val="90000"/>
              </a:lnSpc>
              <a:spcBef>
                <a:spcPts val="0"/>
              </a:spcBef>
              <a:buNone/>
              <a:defRPr sz="3199" b="1">
                <a:latin typeface="+mj-lt"/>
              </a:defRPr>
            </a:lvl3pPr>
            <a:lvl4pPr marL="0" indent="0" algn="l">
              <a:lnSpc>
                <a:spcPct val="90000"/>
              </a:lnSpc>
              <a:spcBef>
                <a:spcPts val="0"/>
              </a:spcBef>
              <a:buNone/>
              <a:defRPr sz="3199" b="1">
                <a:latin typeface="+mj-lt"/>
              </a:defRPr>
            </a:lvl4pPr>
            <a:lvl5pPr marL="0" indent="0" algn="l">
              <a:lnSpc>
                <a:spcPct val="90000"/>
              </a:lnSpc>
              <a:spcBef>
                <a:spcPts val="0"/>
              </a:spcBef>
              <a:buNone/>
              <a:defRPr sz="3199" b="1">
                <a:latin typeface="+mj-lt"/>
              </a:defRPr>
            </a:lvl5pPr>
            <a:lvl6pPr marL="0" indent="0" algn="l">
              <a:lnSpc>
                <a:spcPct val="90000"/>
              </a:lnSpc>
              <a:spcBef>
                <a:spcPts val="0"/>
              </a:spcBef>
              <a:buNone/>
              <a:defRPr sz="3199" b="1">
                <a:latin typeface="+mj-lt"/>
              </a:defRPr>
            </a:lvl6pPr>
            <a:lvl7pPr marL="0" indent="0" algn="l">
              <a:lnSpc>
                <a:spcPct val="90000"/>
              </a:lnSpc>
              <a:spcBef>
                <a:spcPts val="0"/>
              </a:spcBef>
              <a:buNone/>
              <a:defRPr sz="3199" b="1">
                <a:latin typeface="+mj-lt"/>
              </a:defRPr>
            </a:lvl7pPr>
            <a:lvl8pPr marL="0" indent="0" algn="l">
              <a:lnSpc>
                <a:spcPct val="90000"/>
              </a:lnSpc>
              <a:spcBef>
                <a:spcPts val="0"/>
              </a:spcBef>
              <a:buNone/>
              <a:defRPr sz="3199" b="1">
                <a:latin typeface="+mj-lt"/>
              </a:defRPr>
            </a:lvl8pPr>
            <a:lvl9pPr marL="0" indent="0" algn="l">
              <a:lnSpc>
                <a:spcPct val="90000"/>
              </a:lnSpc>
              <a:spcBef>
                <a:spcPts val="0"/>
              </a:spcBef>
              <a:buNone/>
              <a:defRPr sz="3199" b="1">
                <a:latin typeface="+mj-lt"/>
              </a:defRPr>
            </a:lvl9pPr>
          </a:lstStyle>
          <a:p>
            <a:r>
              <a:rPr lang="en-US"/>
              <a:t>[Optional section subtitle/lead-in]</a:t>
            </a: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42A20B57-9C1D-4E8F-B2A3-A6062F929C2D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65126" y="1554480"/>
            <a:ext cx="7540371" cy="2743200"/>
          </a:xfrm>
        </p:spPr>
        <p:txBody>
          <a:bodyPr anchor="t" anchorCtr="0"/>
          <a:lstStyle>
            <a:lvl1pPr>
              <a:defRPr sz="5998" b="0" spc="0" baseline="0"/>
            </a:lvl1pPr>
          </a:lstStyle>
          <a:p>
            <a:r>
              <a:rPr lang="en-US"/>
              <a:t>[Section title]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FDB1BE67-4AA2-4F98-8F15-39B4F53A1316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506200" y="6429375"/>
            <a:ext cx="320040" cy="228600"/>
          </a:xfrm>
          <a:prstGeom prst="rect">
            <a:avLst/>
          </a:prstGeom>
        </p:spPr>
        <p:txBody>
          <a:bodyPr/>
          <a:lstStyle/>
          <a:p>
            <a:fld id="{B58DE5F1-E0F9-4CCA-92B7-7A6FC4DFEE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5829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2" pos="4980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- Light Gray">
    <p:bg>
      <p:bgPr>
        <a:solidFill>
          <a:srgbClr val="EE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1">
            <a:extLst>
              <a:ext uri="{FF2B5EF4-FFF2-40B4-BE49-F238E27FC236}">
                <a16:creationId xmlns:a16="http://schemas.microsoft.com/office/drawing/2014/main" id="{3036AABB-FB6C-2340-8AFB-DFFA0E13AE0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758" y="365125"/>
            <a:ext cx="7539992" cy="914400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3199" b="1">
                <a:latin typeface="+mj-lt"/>
              </a:defRPr>
            </a:lvl1pPr>
            <a:lvl2pPr marL="0" indent="0" algn="l">
              <a:lnSpc>
                <a:spcPct val="90000"/>
              </a:lnSpc>
              <a:spcBef>
                <a:spcPts val="0"/>
              </a:spcBef>
              <a:buNone/>
              <a:defRPr sz="3199" b="1">
                <a:latin typeface="+mj-lt"/>
              </a:defRPr>
            </a:lvl2pPr>
            <a:lvl3pPr marL="0" indent="0" algn="l">
              <a:lnSpc>
                <a:spcPct val="90000"/>
              </a:lnSpc>
              <a:spcBef>
                <a:spcPts val="0"/>
              </a:spcBef>
              <a:buNone/>
              <a:defRPr sz="3199" b="1">
                <a:latin typeface="+mj-lt"/>
              </a:defRPr>
            </a:lvl3pPr>
            <a:lvl4pPr marL="0" indent="0" algn="l">
              <a:lnSpc>
                <a:spcPct val="90000"/>
              </a:lnSpc>
              <a:spcBef>
                <a:spcPts val="0"/>
              </a:spcBef>
              <a:buNone/>
              <a:defRPr sz="3199" b="1">
                <a:latin typeface="+mj-lt"/>
              </a:defRPr>
            </a:lvl4pPr>
            <a:lvl5pPr marL="0" indent="0" algn="l">
              <a:lnSpc>
                <a:spcPct val="90000"/>
              </a:lnSpc>
              <a:spcBef>
                <a:spcPts val="0"/>
              </a:spcBef>
              <a:buNone/>
              <a:defRPr sz="3199" b="1">
                <a:latin typeface="+mj-lt"/>
              </a:defRPr>
            </a:lvl5pPr>
            <a:lvl6pPr marL="0" indent="0" algn="l">
              <a:lnSpc>
                <a:spcPct val="90000"/>
              </a:lnSpc>
              <a:spcBef>
                <a:spcPts val="0"/>
              </a:spcBef>
              <a:buNone/>
              <a:defRPr sz="3199" b="1">
                <a:latin typeface="+mj-lt"/>
              </a:defRPr>
            </a:lvl6pPr>
            <a:lvl7pPr marL="0" indent="0" algn="l">
              <a:lnSpc>
                <a:spcPct val="90000"/>
              </a:lnSpc>
              <a:spcBef>
                <a:spcPts val="0"/>
              </a:spcBef>
              <a:buNone/>
              <a:defRPr sz="3199" b="1">
                <a:latin typeface="+mj-lt"/>
              </a:defRPr>
            </a:lvl7pPr>
            <a:lvl8pPr marL="0" indent="0" algn="l">
              <a:lnSpc>
                <a:spcPct val="90000"/>
              </a:lnSpc>
              <a:spcBef>
                <a:spcPts val="0"/>
              </a:spcBef>
              <a:buNone/>
              <a:defRPr sz="3199" b="1">
                <a:latin typeface="+mj-lt"/>
              </a:defRPr>
            </a:lvl8pPr>
            <a:lvl9pPr marL="0" indent="0" algn="l">
              <a:lnSpc>
                <a:spcPct val="90000"/>
              </a:lnSpc>
              <a:spcBef>
                <a:spcPts val="0"/>
              </a:spcBef>
              <a:buNone/>
              <a:defRPr sz="3199" b="1">
                <a:latin typeface="+mj-lt"/>
              </a:defRPr>
            </a:lvl9pPr>
          </a:lstStyle>
          <a:p>
            <a:r>
              <a:rPr lang="en-US"/>
              <a:t>[Optional section subtitle/lead-in]</a:t>
            </a: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42A20B57-9C1D-4E8F-B2A3-A6062F929C2D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65126" y="1554480"/>
            <a:ext cx="7540371" cy="2743200"/>
          </a:xfrm>
        </p:spPr>
        <p:txBody>
          <a:bodyPr anchor="t" anchorCtr="0"/>
          <a:lstStyle>
            <a:lvl1pPr>
              <a:defRPr sz="5998" b="0" spc="0" baseline="0"/>
            </a:lvl1pPr>
          </a:lstStyle>
          <a:p>
            <a:r>
              <a:rPr lang="en-US"/>
              <a:t>[Section title]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FDB1BE67-4AA2-4F98-8F15-39B4F53A1316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506200" y="6429375"/>
            <a:ext cx="320040" cy="228600"/>
          </a:xfrm>
          <a:prstGeom prst="rect">
            <a:avLst/>
          </a:prstGeom>
        </p:spPr>
        <p:txBody>
          <a:bodyPr/>
          <a:lstStyle/>
          <a:p>
            <a:fld id="{B58DE5F1-E0F9-4CCA-92B7-7A6FC4DFEE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2075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2" pos="4980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00D8B1-1581-4488-A1A4-886D01EEFD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6CF9CDAC-EC28-4BA6-9827-D58133E188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6200" y="6429375"/>
            <a:ext cx="320040" cy="22860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42136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1">
            <a:extLst>
              <a:ext uri="{FF2B5EF4-FFF2-40B4-BE49-F238E27FC236}">
                <a16:creationId xmlns:a16="http://schemas.microsoft.com/office/drawing/2014/main" id="{45BF3E53-7A3D-40D5-AE68-3CE44909F1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6200" y="6429375"/>
            <a:ext cx="320040" cy="22860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56124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ristol Myers Squibb" descr="Bristol Myers Squibb">
            <a:extLst>
              <a:ext uri="{FF2B5EF4-FFF2-40B4-BE49-F238E27FC236}">
                <a16:creationId xmlns:a16="http://schemas.microsoft.com/office/drawing/2014/main" id="{B50985CD-7333-F343-85B8-C4893E81FC9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1645921" y="2194560"/>
            <a:ext cx="9056906" cy="22860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5394160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ristol Myers Squibb" descr="Bristol Myers Squibb">
            <a:extLst>
              <a:ext uri="{FF2B5EF4-FFF2-40B4-BE49-F238E27FC236}">
                <a16:creationId xmlns:a16="http://schemas.microsoft.com/office/drawing/2014/main" id="{91000A19-9025-2C4A-9321-625720905BF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150689" y="5913096"/>
            <a:ext cx="3260484" cy="822960"/>
          </a:xfrm>
          <a:prstGeom prst="rect">
            <a:avLst/>
          </a:prstGeom>
          <a:noFill/>
        </p:spPr>
      </p:pic>
      <p:sp>
        <p:nvSpPr>
          <p:cNvPr id="8" name="Thank You">
            <a:extLst>
              <a:ext uri="{FF2B5EF4-FFF2-40B4-BE49-F238E27FC236}">
                <a16:creationId xmlns:a16="http://schemas.microsoft.com/office/drawing/2014/main" id="{2DF7BC51-D766-5D44-8D23-2A1F0BF208B3}"/>
              </a:ext>
            </a:extLst>
          </p:cNvPr>
          <p:cNvSpPr txBox="1">
            <a:spLocks/>
          </p:cNvSpPr>
          <p:nvPr userDrawn="1"/>
        </p:nvSpPr>
        <p:spPr>
          <a:xfrm>
            <a:off x="365761" y="1554480"/>
            <a:ext cx="7543165" cy="18288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0" kern="1200" spc="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5998"/>
              <a:t>Thank you</a:t>
            </a:r>
          </a:p>
        </p:txBody>
      </p:sp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03D75AF2-C99D-9247-B7AF-B859D95DB41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5761" y="4434840"/>
            <a:ext cx="7543165" cy="13716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  <a:lvl6pPr marL="0" indent="0">
              <a:spcBef>
                <a:spcPts val="0"/>
              </a:spcBef>
              <a:buNone/>
              <a:defRPr/>
            </a:lvl6pPr>
            <a:lvl7pPr marL="0" indent="0">
              <a:spcBef>
                <a:spcPts val="0"/>
              </a:spcBef>
              <a:buNone/>
              <a:defRPr/>
            </a:lvl7pPr>
            <a:lvl8pPr marL="0" indent="0">
              <a:spcBef>
                <a:spcPts val="0"/>
              </a:spcBef>
              <a:buNone/>
              <a:defRPr/>
            </a:lvl8pPr>
            <a:lvl9pPr marL="0" indent="0">
              <a:spcBef>
                <a:spcPts val="0"/>
              </a:spcBef>
              <a:buNone/>
              <a:defRPr/>
            </a:lvl9pPr>
          </a:lstStyle>
          <a:p>
            <a:pPr lvl="0"/>
            <a:r>
              <a:rPr lang="en-US"/>
              <a:t>[Optional contact information]</a:t>
            </a:r>
          </a:p>
        </p:txBody>
      </p:sp>
    </p:spTree>
    <p:extLst>
      <p:ext uri="{BB962C8B-B14F-4D97-AF65-F5344CB8AC3E}">
        <p14:creationId xmlns:p14="http://schemas.microsoft.com/office/powerpoint/2010/main" val="11849186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pos="4982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debar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3D903699-153C-AD47-95F6-16E2B30162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760" y="365760"/>
            <a:ext cx="11460480" cy="914400"/>
          </a:xfrm>
        </p:spPr>
        <p:txBody>
          <a:bodyPr/>
          <a:lstStyle/>
          <a:p>
            <a:r>
              <a:rPr lang="en-US"/>
              <a:t>[Slide title]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8D83941-3469-4946-BCE6-FA84F7323A0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65761" y="1554480"/>
            <a:ext cx="3618992" cy="4572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38A127C-C71C-410F-8BEA-B1AA4E4DB59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86503" y="1554480"/>
            <a:ext cx="7539737" cy="4572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4">
            <a:extLst>
              <a:ext uri="{FF2B5EF4-FFF2-40B4-BE49-F238E27FC236}">
                <a16:creationId xmlns:a16="http://schemas.microsoft.com/office/drawing/2014/main" id="{941E30D8-4EF8-495A-8824-D819A46BF9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6200" y="6429375"/>
            <a:ext cx="320041" cy="228600"/>
          </a:xfrm>
          <a:prstGeom prst="rect">
            <a:avLst/>
          </a:prstGeom>
        </p:spPr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3423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700">
          <p15:clr>
            <a:srgbClr val="FBAE40"/>
          </p15:clr>
        </p15:guide>
        <p15:guide id="2" pos="2512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Content">
  <p:cSld name="Title &amp; Content">
    <p:spTree>
      <p:nvGrpSpPr>
        <p:cNvPr id="1" name="Shape 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Google Shape;31;p63"/>
          <p:cNvSpPr txBox="1">
            <a:spLocks noGrp="1"/>
          </p:cNvSpPr>
          <p:nvPr>
            <p:ph type="title"/>
          </p:nvPr>
        </p:nvSpPr>
        <p:spPr>
          <a:xfrm>
            <a:off x="563024" y="360972"/>
            <a:ext cx="11068061" cy="646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28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" name="Google Shape;32;p63"/>
          <p:cNvSpPr txBox="1">
            <a:spLocks noGrp="1"/>
          </p:cNvSpPr>
          <p:nvPr>
            <p:ph type="body" idx="1"/>
          </p:nvPr>
        </p:nvSpPr>
        <p:spPr>
          <a:xfrm>
            <a:off x="883480" y="1470991"/>
            <a:ext cx="10747605" cy="45980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chemeClr val="accent1"/>
              </a:buClr>
              <a:buSzPts val="2800"/>
              <a:buFont typeface="Tahoma"/>
              <a:buNone/>
              <a:defRPr sz="2800"/>
            </a:lvl1pPr>
            <a:lvl2pPr marL="914400" lvl="1" indent="-38100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SzPts val="2400"/>
              <a:buChar char="•"/>
              <a:defRPr sz="2400"/>
            </a:lvl2pPr>
            <a:lvl3pPr marL="1371600" lvl="2" indent="-38100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SzPts val="2400"/>
              <a:buChar char="–"/>
              <a:defRPr sz="2400"/>
            </a:lvl3pPr>
            <a:lvl4pPr marL="1828800" lvl="3" indent="-38100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SzPts val="2400"/>
              <a:buFont typeface="Arial"/>
              <a:buChar char="•"/>
              <a:defRPr sz="2400">
                <a:solidFill>
                  <a:schemeClr val="dk2"/>
                </a:solidFill>
              </a:defRPr>
            </a:lvl4pPr>
            <a:lvl5pPr marL="2286000" lvl="4" indent="-38100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SzPts val="2400"/>
              <a:buFont typeface="Noto Sans Symbols"/>
              <a:buChar char="▪"/>
              <a:defRPr sz="2400"/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543477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1.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144FEB45-5B13-814A-A7C6-C024B705C1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391584" y="6537399"/>
            <a:ext cx="4141956" cy="161962"/>
          </a:xfrm>
        </p:spPr>
        <p:txBody>
          <a:bodyPr/>
          <a:lstStyle>
            <a:lvl1pPr>
              <a:defRPr>
                <a:latin typeface="Graphik" panose="020B0503030202060203" pitchFamily="34" charset="77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6">
            <a:extLst>
              <a:ext uri="{FF2B5EF4-FFF2-40B4-BE49-F238E27FC236}">
                <a16:creationId xmlns:a16="http://schemas.microsoft.com/office/drawing/2014/main" id="{565ED8D5-F7BD-D244-8E89-518DAA5C79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 flipH="1">
            <a:off x="11617001" y="6537474"/>
            <a:ext cx="216084" cy="161888"/>
          </a:xfrm>
          <a:prstGeom prst="rect">
            <a:avLst/>
          </a:prstGeom>
        </p:spPr>
        <p:txBody>
          <a:bodyPr/>
          <a:lstStyle>
            <a:lvl1pPr>
              <a:defRPr>
                <a:latin typeface="Graphik" panose="020B0503030202060203" pitchFamily="34" charset="77"/>
              </a:defRPr>
            </a:lvl1pPr>
          </a:lstStyle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DC17F5D-75B4-214F-897A-1071EDD474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5171" y="296863"/>
            <a:ext cx="7326592" cy="1501938"/>
          </a:xfrm>
        </p:spPr>
        <p:txBody>
          <a:bodyPr vert="horz" wrap="square" lIns="0" tIns="0" rIns="0" bIns="0" rtlCol="0" anchor="b">
            <a:no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buFont typeface="Arial" pitchFamily="34" charset="0"/>
              <a:buNone/>
              <a:defRPr lang="en-US" b="0" i="0">
                <a:ea typeface="Roboto" panose="02000000000000000000" pitchFamily="2" charset="0"/>
              </a:defRPr>
            </a:lvl1pPr>
          </a:lstStyle>
          <a:p>
            <a:pPr marL="0" lvl="0" indent="0">
              <a:spcBef>
                <a:spcPts val="0"/>
              </a:spcBef>
              <a:buFont typeface="Arial" pitchFamily="34" charset="0"/>
              <a:buNone/>
            </a:pPr>
            <a:r>
              <a:rPr lang="en-US"/>
              <a:t>INSERT MAIN TITLE </a:t>
            </a:r>
            <a:br>
              <a:rPr lang="en-US"/>
            </a:br>
            <a:r>
              <a:rPr lang="en-US"/>
              <a:t>AT 36PT MIN 30PT</a:t>
            </a:r>
          </a:p>
        </p:txBody>
      </p:sp>
    </p:spTree>
    <p:extLst>
      <p:ext uri="{BB962C8B-B14F-4D97-AF65-F5344CB8AC3E}">
        <p14:creationId xmlns:p14="http://schemas.microsoft.com/office/powerpoint/2010/main" val="381484104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debar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FEF123-E2C1-8448-BA4B-9ECBEA28E8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760" y="365760"/>
            <a:ext cx="11460480" cy="914400"/>
          </a:xfrm>
        </p:spPr>
        <p:txBody>
          <a:bodyPr/>
          <a:lstStyle/>
          <a:p>
            <a:r>
              <a:rPr lang="en-US"/>
              <a:t>[Slide title]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8D83941-3469-4946-BCE6-FA84F7323A0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65760" y="1554480"/>
            <a:ext cx="7539737" cy="4572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38A127C-C71C-410F-8BEA-B1AA4E4DB59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207249" y="1554480"/>
            <a:ext cx="3618992" cy="4572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67FB1D32-3E1C-554A-A887-047CEBF6A0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6200" y="6429375"/>
            <a:ext cx="320041" cy="228600"/>
          </a:xfrm>
          <a:prstGeom prst="rect">
            <a:avLst/>
          </a:prstGeom>
        </p:spPr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1437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3" pos="4980">
          <p15:clr>
            <a:srgbClr val="FBAE40"/>
          </p15:clr>
        </p15:guide>
        <p15:guide id="4" pos="5168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13" Type="http://schemas.openxmlformats.org/officeDocument/2006/relationships/slideLayout" Target="../slideLayouts/slideLayout52.xml"/><Relationship Id="rId18" Type="http://schemas.openxmlformats.org/officeDocument/2006/relationships/slideLayout" Target="../slideLayouts/slideLayout57.xml"/><Relationship Id="rId26" Type="http://schemas.openxmlformats.org/officeDocument/2006/relationships/slideLayout" Target="../slideLayouts/slideLayout65.xml"/><Relationship Id="rId39" Type="http://schemas.openxmlformats.org/officeDocument/2006/relationships/slideLayout" Target="../slideLayouts/slideLayout78.xml"/><Relationship Id="rId3" Type="http://schemas.openxmlformats.org/officeDocument/2006/relationships/slideLayout" Target="../slideLayouts/slideLayout42.xml"/><Relationship Id="rId21" Type="http://schemas.openxmlformats.org/officeDocument/2006/relationships/slideLayout" Target="../slideLayouts/slideLayout60.xml"/><Relationship Id="rId34" Type="http://schemas.openxmlformats.org/officeDocument/2006/relationships/slideLayout" Target="../slideLayouts/slideLayout73.xml"/><Relationship Id="rId42" Type="http://schemas.openxmlformats.org/officeDocument/2006/relationships/slideLayout" Target="../slideLayouts/slideLayout81.xml"/><Relationship Id="rId47" Type="http://schemas.openxmlformats.org/officeDocument/2006/relationships/image" Target="../media/image2.emf"/><Relationship Id="rId7" Type="http://schemas.openxmlformats.org/officeDocument/2006/relationships/slideLayout" Target="../slideLayouts/slideLayout46.xml"/><Relationship Id="rId12" Type="http://schemas.openxmlformats.org/officeDocument/2006/relationships/slideLayout" Target="../slideLayouts/slideLayout51.xml"/><Relationship Id="rId17" Type="http://schemas.openxmlformats.org/officeDocument/2006/relationships/slideLayout" Target="../slideLayouts/slideLayout56.xml"/><Relationship Id="rId25" Type="http://schemas.openxmlformats.org/officeDocument/2006/relationships/slideLayout" Target="../slideLayouts/slideLayout64.xml"/><Relationship Id="rId33" Type="http://schemas.openxmlformats.org/officeDocument/2006/relationships/slideLayout" Target="../slideLayouts/slideLayout72.xml"/><Relationship Id="rId38" Type="http://schemas.openxmlformats.org/officeDocument/2006/relationships/slideLayout" Target="../slideLayouts/slideLayout77.xml"/><Relationship Id="rId46" Type="http://schemas.openxmlformats.org/officeDocument/2006/relationships/oleObject" Target="../embeddings/oleObject1.bin"/><Relationship Id="rId2" Type="http://schemas.openxmlformats.org/officeDocument/2006/relationships/slideLayout" Target="../slideLayouts/slideLayout41.xml"/><Relationship Id="rId16" Type="http://schemas.openxmlformats.org/officeDocument/2006/relationships/slideLayout" Target="../slideLayouts/slideLayout55.xml"/><Relationship Id="rId20" Type="http://schemas.openxmlformats.org/officeDocument/2006/relationships/slideLayout" Target="../slideLayouts/slideLayout59.xml"/><Relationship Id="rId29" Type="http://schemas.openxmlformats.org/officeDocument/2006/relationships/slideLayout" Target="../slideLayouts/slideLayout68.xml"/><Relationship Id="rId41" Type="http://schemas.openxmlformats.org/officeDocument/2006/relationships/slideLayout" Target="../slideLayouts/slideLayout80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50.xml"/><Relationship Id="rId24" Type="http://schemas.openxmlformats.org/officeDocument/2006/relationships/slideLayout" Target="../slideLayouts/slideLayout63.xml"/><Relationship Id="rId32" Type="http://schemas.openxmlformats.org/officeDocument/2006/relationships/slideLayout" Target="../slideLayouts/slideLayout71.xml"/><Relationship Id="rId37" Type="http://schemas.openxmlformats.org/officeDocument/2006/relationships/slideLayout" Target="../slideLayouts/slideLayout76.xml"/><Relationship Id="rId40" Type="http://schemas.openxmlformats.org/officeDocument/2006/relationships/slideLayout" Target="../slideLayouts/slideLayout79.xml"/><Relationship Id="rId45" Type="http://schemas.openxmlformats.org/officeDocument/2006/relationships/tags" Target="../tags/tag3.xml"/><Relationship Id="rId5" Type="http://schemas.openxmlformats.org/officeDocument/2006/relationships/slideLayout" Target="../slideLayouts/slideLayout44.xml"/><Relationship Id="rId15" Type="http://schemas.openxmlformats.org/officeDocument/2006/relationships/slideLayout" Target="../slideLayouts/slideLayout54.xml"/><Relationship Id="rId23" Type="http://schemas.openxmlformats.org/officeDocument/2006/relationships/slideLayout" Target="../slideLayouts/slideLayout62.xml"/><Relationship Id="rId28" Type="http://schemas.openxmlformats.org/officeDocument/2006/relationships/slideLayout" Target="../slideLayouts/slideLayout67.xml"/><Relationship Id="rId36" Type="http://schemas.openxmlformats.org/officeDocument/2006/relationships/slideLayout" Target="../slideLayouts/slideLayout75.xml"/><Relationship Id="rId10" Type="http://schemas.openxmlformats.org/officeDocument/2006/relationships/slideLayout" Target="../slideLayouts/slideLayout49.xml"/><Relationship Id="rId19" Type="http://schemas.openxmlformats.org/officeDocument/2006/relationships/slideLayout" Target="../slideLayouts/slideLayout58.xml"/><Relationship Id="rId31" Type="http://schemas.openxmlformats.org/officeDocument/2006/relationships/slideLayout" Target="../slideLayouts/slideLayout70.xml"/><Relationship Id="rId44" Type="http://schemas.openxmlformats.org/officeDocument/2006/relationships/tags" Target="../tags/tag2.xml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Relationship Id="rId14" Type="http://schemas.openxmlformats.org/officeDocument/2006/relationships/slideLayout" Target="../slideLayouts/slideLayout53.xml"/><Relationship Id="rId22" Type="http://schemas.openxmlformats.org/officeDocument/2006/relationships/slideLayout" Target="../slideLayouts/slideLayout61.xml"/><Relationship Id="rId27" Type="http://schemas.openxmlformats.org/officeDocument/2006/relationships/slideLayout" Target="../slideLayouts/slideLayout66.xml"/><Relationship Id="rId30" Type="http://schemas.openxmlformats.org/officeDocument/2006/relationships/slideLayout" Target="../slideLayouts/slideLayout69.xml"/><Relationship Id="rId35" Type="http://schemas.openxmlformats.org/officeDocument/2006/relationships/slideLayout" Target="../slideLayouts/slideLayout74.xml"/><Relationship Id="rId43" Type="http://schemas.openxmlformats.org/officeDocument/2006/relationships/theme" Target="../theme/theme2.xml"/><Relationship Id="rId48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10C88FF-867A-4400-B205-E69EFB354E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760" y="365760"/>
            <a:ext cx="11460480" cy="914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[Slide title]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FDE4FC5-C208-4061-8E32-8B795BC19E6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5760" y="1554480"/>
            <a:ext cx="11460480" cy="4572000"/>
          </a:xfrm>
          <a:prstGeom prst="rect">
            <a:avLst/>
          </a:prstGeom>
        </p:spPr>
        <p:txBody>
          <a:bodyPr vert="horz" lIns="0" tIns="0" rIns="0" bIns="0" spcCol="301752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Line">
            <a:extLst>
              <a:ext uri="{FF2B5EF4-FFF2-40B4-BE49-F238E27FC236}">
                <a16:creationId xmlns:a16="http://schemas.microsoft.com/office/drawing/2014/main" id="{B202EDA2-849C-5746-B520-4E5047A706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 bwMode="black">
          <a:xfrm>
            <a:off x="365760" y="6355080"/>
            <a:ext cx="11460480" cy="0"/>
          </a:xfrm>
          <a:prstGeom prst="line">
            <a:avLst/>
          </a:prstGeom>
          <a:ln w="6350" cap="rnd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rgbClr val="000000"/>
          </a:effectRef>
          <a:fontRef idx="minor">
            <a:schemeClr val="lt1"/>
          </a:fontRef>
        </p:style>
      </p:cxnSp>
      <p:pic>
        <p:nvPicPr>
          <p:cNvPr id="5" name="Bristol Myers Squibb" descr="Bristol Myers Squibb">
            <a:extLst>
              <a:ext uri="{FF2B5EF4-FFF2-40B4-BE49-F238E27FC236}">
                <a16:creationId xmlns:a16="http://schemas.microsoft.com/office/drawing/2014/main" id="{B7697988-37C6-7C4A-AA57-C36971D11EEC}"/>
              </a:ext>
            </a:extLst>
          </p:cNvPr>
          <p:cNvPicPr>
            <a:picLocks noChangeAspect="1"/>
          </p:cNvPicPr>
          <p:nvPr/>
        </p:nvPicPr>
        <p:blipFill>
          <a:blip r:embed="rId4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258319" y="6355080"/>
            <a:ext cx="1627632" cy="410821"/>
          </a:xfrm>
          <a:prstGeom prst="rect">
            <a:avLst/>
          </a:prstGeom>
          <a:noFill/>
        </p:spPr>
      </p:pic>
      <p:grpSp>
        <p:nvGrpSpPr>
          <p:cNvPr id="4" name="Group">
            <a:extLst>
              <a:ext uri="{FF2B5EF4-FFF2-40B4-BE49-F238E27FC236}">
                <a16:creationId xmlns:a16="http://schemas.microsoft.com/office/drawing/2014/main" id="{D7F0AB66-B862-4C4F-8DBC-7443BBC9E0C7}"/>
              </a:ext>
            </a:extLst>
          </p:cNvPr>
          <p:cNvGrpSpPr/>
          <p:nvPr/>
        </p:nvGrpSpPr>
        <p:grpSpPr>
          <a:xfrm>
            <a:off x="1874521" y="6458891"/>
            <a:ext cx="3919730" cy="231734"/>
            <a:chOff x="1874520" y="6458891"/>
            <a:chExt cx="3919729" cy="231734"/>
          </a:xfrm>
        </p:grpSpPr>
        <p:cxnSp>
          <p:nvCxnSpPr>
            <p:cNvPr id="25" name="Line">
              <a:extLst>
                <a:ext uri="{FF2B5EF4-FFF2-40B4-BE49-F238E27FC236}">
                  <a16:creationId xmlns:a16="http://schemas.microsoft.com/office/drawing/2014/main" id="{DA9532AD-0553-FF47-B676-11BE658B2BB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 userDrawn="1"/>
          </p:nvCxnSpPr>
          <p:spPr bwMode="black">
            <a:xfrm>
              <a:off x="1874520" y="6458891"/>
              <a:ext cx="0" cy="228600"/>
            </a:xfrm>
            <a:prstGeom prst="line">
              <a:avLst/>
            </a:prstGeom>
            <a:ln w="6350" cap="rnd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rgbClr val="000000"/>
            </a:effectRef>
            <a:fontRef idx="minor">
              <a:schemeClr val="lt1"/>
            </a:fontRef>
          </p:style>
        </p:cxnSp>
        <p:sp>
          <p:nvSpPr>
            <p:cNvPr id="24" name="Division/Therapeutic Area">
              <a:extLst>
                <a:ext uri="{FF2B5EF4-FFF2-40B4-BE49-F238E27FC236}">
                  <a16:creationId xmlns:a16="http://schemas.microsoft.com/office/drawing/2014/main" id="{7F2981F2-EF0F-2349-8B4D-9E148ABFE89B}"/>
                </a:ext>
              </a:extLst>
            </p:cNvPr>
            <p:cNvSpPr txBox="1"/>
            <p:nvPr userDrawn="1"/>
          </p:nvSpPr>
          <p:spPr>
            <a:xfrm>
              <a:off x="2011680" y="6462065"/>
              <a:ext cx="3782569" cy="228560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noAutofit/>
            </a:bodyPr>
            <a:lstStyle/>
            <a:p>
              <a:pPr marL="0" indent="0" algn="l">
                <a:lnSpc>
                  <a:spcPct val="100000"/>
                </a:lnSpc>
                <a:spcBef>
                  <a:spcPts val="0"/>
                </a:spcBef>
                <a:buSzPct val="100000"/>
                <a:buFontTx/>
                <a:buNone/>
              </a:pPr>
              <a:r>
                <a:rPr lang="en-US" sz="1100" b="0">
                  <a:solidFill>
                    <a:schemeClr val="tx1"/>
                  </a:solidFill>
                </a:rPr>
                <a:t>Innovation Team - GBD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6674929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7" r:id="rId1"/>
    <p:sldLayoutId id="2147483788" r:id="rId2"/>
    <p:sldLayoutId id="2147483789" r:id="rId3"/>
    <p:sldLayoutId id="2147483790" r:id="rId4"/>
    <p:sldLayoutId id="2147483791" r:id="rId5"/>
    <p:sldLayoutId id="2147483792" r:id="rId6"/>
    <p:sldLayoutId id="2147483793" r:id="rId7"/>
    <p:sldLayoutId id="2147483794" r:id="rId8"/>
    <p:sldLayoutId id="2147483795" r:id="rId9"/>
    <p:sldLayoutId id="2147483796" r:id="rId10"/>
    <p:sldLayoutId id="2147483797" r:id="rId11"/>
    <p:sldLayoutId id="2147483798" r:id="rId12"/>
    <p:sldLayoutId id="2147483799" r:id="rId13"/>
    <p:sldLayoutId id="2147483800" r:id="rId14"/>
    <p:sldLayoutId id="2147483801" r:id="rId15"/>
    <p:sldLayoutId id="2147483802" r:id="rId16"/>
    <p:sldLayoutId id="2147483803" r:id="rId17"/>
    <p:sldLayoutId id="2147483804" r:id="rId18"/>
    <p:sldLayoutId id="2147483805" r:id="rId19"/>
    <p:sldLayoutId id="2147483806" r:id="rId20"/>
    <p:sldLayoutId id="2147483807" r:id="rId21"/>
    <p:sldLayoutId id="2147483808" r:id="rId22"/>
    <p:sldLayoutId id="2147483809" r:id="rId23"/>
    <p:sldLayoutId id="2147483810" r:id="rId24"/>
    <p:sldLayoutId id="2147483811" r:id="rId25"/>
    <p:sldLayoutId id="2147483812" r:id="rId26"/>
    <p:sldLayoutId id="2147483813" r:id="rId27"/>
    <p:sldLayoutId id="2147483814" r:id="rId28"/>
    <p:sldLayoutId id="2147483815" r:id="rId29"/>
    <p:sldLayoutId id="2147483816" r:id="rId30"/>
    <p:sldLayoutId id="2147483817" r:id="rId31"/>
    <p:sldLayoutId id="2147483818" r:id="rId32"/>
    <p:sldLayoutId id="2147483819" r:id="rId33"/>
    <p:sldLayoutId id="2147483820" r:id="rId34"/>
    <p:sldLayoutId id="2147483821" r:id="rId35"/>
    <p:sldLayoutId id="2147483822" r:id="rId36"/>
    <p:sldLayoutId id="2147483823" r:id="rId37"/>
    <p:sldLayoutId id="2147483824" r:id="rId38"/>
    <p:sldLayoutId id="2147483825" r:id="rId3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411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4" indent="-228604" algn="l" defTabSz="914411" rtl="0" eaLnBrk="1" latinLnBrk="0" hangingPunct="1">
        <a:lnSpc>
          <a:spcPct val="100000"/>
        </a:lnSpc>
        <a:spcBef>
          <a:spcPts val="1200"/>
        </a:spcBef>
        <a:buFont typeface="Trebuchet MS" panose="020B0603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6" indent="-228604" algn="l" defTabSz="914411" rtl="0" eaLnBrk="1" latinLnBrk="0" hangingPunct="1">
        <a:lnSpc>
          <a:spcPct val="100000"/>
        </a:lnSpc>
        <a:spcBef>
          <a:spcPts val="400"/>
        </a:spcBef>
        <a:buFont typeface="Trebuchet MS" panose="020B0603020202020204" pitchFamily="34" charset="0"/>
        <a:buChar char="—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9" indent="-228604" algn="l" defTabSz="914411" rtl="0" eaLnBrk="1" latinLnBrk="0" hangingPunct="1">
        <a:lnSpc>
          <a:spcPct val="100000"/>
        </a:lnSpc>
        <a:spcBef>
          <a:spcPts val="400"/>
        </a:spcBef>
        <a:buFont typeface="Trebuchet MS" panose="020B0603020202020204" pitchFamily="34" charset="0"/>
        <a:buChar char="—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11" indent="-228604" algn="l" defTabSz="914411" rtl="0" eaLnBrk="1" latinLnBrk="0" hangingPunct="1">
        <a:lnSpc>
          <a:spcPct val="100000"/>
        </a:lnSpc>
        <a:spcBef>
          <a:spcPts val="400"/>
        </a:spcBef>
        <a:buFont typeface="Trebuchet MS" panose="020B0603020202020204" pitchFamily="34" charset="0"/>
        <a:buChar char="—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15" indent="-228604" algn="l" defTabSz="914411" rtl="0" eaLnBrk="1" latinLnBrk="0" hangingPunct="1">
        <a:lnSpc>
          <a:spcPct val="100000"/>
        </a:lnSpc>
        <a:spcBef>
          <a:spcPts val="400"/>
        </a:spcBef>
        <a:buFont typeface="Trebuchet MS" panose="020B0603020202020204" pitchFamily="34" charset="0"/>
        <a:buChar char="—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371617" indent="-228604" algn="l" defTabSz="914411" rtl="0" eaLnBrk="1" latinLnBrk="0" hangingPunct="1">
        <a:lnSpc>
          <a:spcPct val="100000"/>
        </a:lnSpc>
        <a:spcBef>
          <a:spcPts val="400"/>
        </a:spcBef>
        <a:buFont typeface="Trebuchet MS" panose="020B0603020202020204" pitchFamily="34" charset="0"/>
        <a:buChar char="—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1600221" indent="-228604" algn="l" defTabSz="914411" rtl="0" eaLnBrk="1" latinLnBrk="0" hangingPunct="1">
        <a:lnSpc>
          <a:spcPct val="100000"/>
        </a:lnSpc>
        <a:spcBef>
          <a:spcPts val="400"/>
        </a:spcBef>
        <a:buFont typeface="Trebuchet MS" panose="020B0603020202020204" pitchFamily="34" charset="0"/>
        <a:buChar char="—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1828823" indent="-228604" algn="l" defTabSz="914411" rtl="0" eaLnBrk="1" latinLnBrk="0" hangingPunct="1">
        <a:lnSpc>
          <a:spcPct val="100000"/>
        </a:lnSpc>
        <a:spcBef>
          <a:spcPts val="400"/>
        </a:spcBef>
        <a:buFont typeface="Trebuchet MS" panose="020B0603020202020204" pitchFamily="34" charset="0"/>
        <a:buChar char="—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2057427" indent="-228604" algn="l" defTabSz="914411" rtl="0" eaLnBrk="1" latinLnBrk="0" hangingPunct="1">
        <a:lnSpc>
          <a:spcPct val="100000"/>
        </a:lnSpc>
        <a:spcBef>
          <a:spcPts val="400"/>
        </a:spcBef>
        <a:buFont typeface="Trebuchet MS" panose="020B0603020202020204" pitchFamily="34" charset="0"/>
        <a:buChar char="—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11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6" algn="l" defTabSz="914411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11" algn="l" defTabSz="914411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17" algn="l" defTabSz="914411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23" algn="l" defTabSz="914411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29" algn="l" defTabSz="914411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34" algn="l" defTabSz="914411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40" algn="l" defTabSz="914411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46" algn="l" defTabSz="914411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30">
          <p15:clr>
            <a:srgbClr val="F26B43"/>
          </p15:clr>
        </p15:guide>
        <p15:guide id="2" pos="229">
          <p15:clr>
            <a:srgbClr val="F26B43"/>
          </p15:clr>
        </p15:guide>
        <p15:guide id="3" pos="7451">
          <p15:clr>
            <a:srgbClr val="F26B43"/>
          </p15:clr>
        </p15:guide>
        <p15:guide id="5" orient="horz" pos="978">
          <p15:clr>
            <a:srgbClr val="F26B43"/>
          </p15:clr>
        </p15:guide>
        <p15:guide id="6" orient="horz" pos="386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13C7BA6-5D81-4B83-91A3-6E8EB1CB60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4"/>
            </p:custDataLst>
            <p:extLst>
              <p:ext uri="{D42A27DB-BD31-4B8C-83A1-F6EECF244321}">
                <p14:modId xmlns:p14="http://schemas.microsoft.com/office/powerpoint/2010/main" val="3531975299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6" imgW="590" imgH="605" progId="TCLayout.ActiveDocument.1">
                  <p:embed/>
                </p:oleObj>
              </mc:Choice>
              <mc:Fallback>
                <p:oleObj name="think-cell Slide" r:id="rId46" imgW="590" imgH="60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13C7BA6-5D81-4B83-91A3-6E8EB1CB60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C955C1A0-9D70-462D-9109-C856FC4DA9D9}"/>
              </a:ext>
            </a:extLst>
          </p:cNvPr>
          <p:cNvSpPr/>
          <p:nvPr userDrawn="1">
            <p:custDataLst>
              <p:tags r:id="rId45"/>
            </p:custDataLst>
          </p:nvPr>
        </p:nvSpPr>
        <p:spPr>
          <a:xfrm>
            <a:off x="0" y="0"/>
            <a:ext cx="158791" cy="158750"/>
          </a:xfrm>
          <a:prstGeom prst="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rgbClr val="000000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0000"/>
              </a:lnSpc>
            </a:pPr>
            <a:endParaRPr lang="en-US" sz="2800" b="1" i="0" baseline="0"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10C88FF-867A-4400-B205-E69EFB354E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760" y="365760"/>
            <a:ext cx="11460481" cy="914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[Slide title]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FDE4FC5-C208-4061-8E32-8B795BC19E6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5760" y="1554480"/>
            <a:ext cx="11460481" cy="4572000"/>
          </a:xfrm>
          <a:prstGeom prst="rect">
            <a:avLst/>
          </a:prstGeom>
        </p:spPr>
        <p:txBody>
          <a:bodyPr vert="horz" lIns="0" tIns="0" rIns="0" bIns="0" spcCol="301752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Line">
            <a:extLst>
              <a:ext uri="{FF2B5EF4-FFF2-40B4-BE49-F238E27FC236}">
                <a16:creationId xmlns:a16="http://schemas.microsoft.com/office/drawing/2014/main" id="{B202EDA2-849C-5746-B520-4E5047A706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 bwMode="black">
          <a:xfrm>
            <a:off x="365760" y="6355080"/>
            <a:ext cx="11460481" cy="0"/>
          </a:xfrm>
          <a:prstGeom prst="line">
            <a:avLst/>
          </a:prstGeom>
          <a:ln w="6350" cap="rnd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rgbClr val="000000"/>
          </a:effectRef>
          <a:fontRef idx="minor">
            <a:schemeClr val="lt1"/>
          </a:fontRef>
        </p:style>
      </p:cxnSp>
      <p:pic>
        <p:nvPicPr>
          <p:cNvPr id="5" name="Bristol Myers Squibb" descr="Bristol Myers Squibb">
            <a:extLst>
              <a:ext uri="{FF2B5EF4-FFF2-40B4-BE49-F238E27FC236}">
                <a16:creationId xmlns:a16="http://schemas.microsoft.com/office/drawing/2014/main" id="{B7697988-37C6-7C4A-AA57-C36971D11EEC}"/>
              </a:ext>
            </a:extLst>
          </p:cNvPr>
          <p:cNvPicPr>
            <a:picLocks noChangeAspect="1"/>
          </p:cNvPicPr>
          <p:nvPr userDrawn="1"/>
        </p:nvPicPr>
        <p:blipFill>
          <a:blip r:embed="rId48"/>
          <a:stretch>
            <a:fillRect/>
          </a:stretch>
        </p:blipFill>
        <p:spPr bwMode="black">
          <a:xfrm>
            <a:off x="258318" y="6355082"/>
            <a:ext cx="1627632" cy="410821"/>
          </a:xfrm>
          <a:prstGeom prst="rect">
            <a:avLst/>
          </a:prstGeom>
          <a:noFill/>
        </p:spPr>
      </p:pic>
      <p:grpSp>
        <p:nvGrpSpPr>
          <p:cNvPr id="4" name="Group">
            <a:extLst>
              <a:ext uri="{FF2B5EF4-FFF2-40B4-BE49-F238E27FC236}">
                <a16:creationId xmlns:a16="http://schemas.microsoft.com/office/drawing/2014/main" id="{D7F0AB66-B862-4C4F-8DBC-7443BBC9E0C7}"/>
              </a:ext>
            </a:extLst>
          </p:cNvPr>
          <p:cNvGrpSpPr/>
          <p:nvPr userDrawn="1"/>
        </p:nvGrpSpPr>
        <p:grpSpPr>
          <a:xfrm>
            <a:off x="1874520" y="6458891"/>
            <a:ext cx="3919729" cy="231734"/>
            <a:chOff x="1874520" y="6458891"/>
            <a:chExt cx="3919729" cy="231734"/>
          </a:xfrm>
        </p:grpSpPr>
        <p:cxnSp>
          <p:nvCxnSpPr>
            <p:cNvPr id="25" name="Line">
              <a:extLst>
                <a:ext uri="{FF2B5EF4-FFF2-40B4-BE49-F238E27FC236}">
                  <a16:creationId xmlns:a16="http://schemas.microsoft.com/office/drawing/2014/main" id="{DA9532AD-0553-FF47-B676-11BE658B2BB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 userDrawn="1"/>
          </p:nvCxnSpPr>
          <p:spPr bwMode="black">
            <a:xfrm>
              <a:off x="1874520" y="6458891"/>
              <a:ext cx="0" cy="228600"/>
            </a:xfrm>
            <a:prstGeom prst="line">
              <a:avLst/>
            </a:prstGeom>
            <a:ln w="6350" cap="rnd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rgbClr val="000000"/>
            </a:effectRef>
            <a:fontRef idx="minor">
              <a:schemeClr val="lt1"/>
            </a:fontRef>
          </p:style>
        </p:cxnSp>
        <p:sp>
          <p:nvSpPr>
            <p:cNvPr id="24" name="Division/Therapeutic Area">
              <a:extLst>
                <a:ext uri="{FF2B5EF4-FFF2-40B4-BE49-F238E27FC236}">
                  <a16:creationId xmlns:a16="http://schemas.microsoft.com/office/drawing/2014/main" id="{7F2981F2-EF0F-2349-8B4D-9E148ABFE89B}"/>
                </a:ext>
              </a:extLst>
            </p:cNvPr>
            <p:cNvSpPr txBox="1"/>
            <p:nvPr userDrawn="1"/>
          </p:nvSpPr>
          <p:spPr>
            <a:xfrm>
              <a:off x="2011680" y="6462065"/>
              <a:ext cx="3782569" cy="228560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noAutofit/>
            </a:bodyPr>
            <a:lstStyle/>
            <a:p>
              <a:pPr marL="0" indent="0" algn="l">
                <a:lnSpc>
                  <a:spcPct val="100000"/>
                </a:lnSpc>
                <a:spcBef>
                  <a:spcPts val="0"/>
                </a:spcBef>
                <a:buSzPct val="100000"/>
                <a:buFontTx/>
                <a:buNone/>
              </a:pPr>
              <a:r>
                <a:rPr lang="en-US" sz="1100" b="0">
                  <a:solidFill>
                    <a:schemeClr val="tx1"/>
                  </a:solidFill>
                </a:rPr>
                <a:t>Global Biometrics and Data Scienc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678695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7" r:id="rId1"/>
    <p:sldLayoutId id="2147483828" r:id="rId2"/>
    <p:sldLayoutId id="2147483829" r:id="rId3"/>
    <p:sldLayoutId id="2147483830" r:id="rId4"/>
    <p:sldLayoutId id="2147483831" r:id="rId5"/>
    <p:sldLayoutId id="2147483832" r:id="rId6"/>
    <p:sldLayoutId id="2147483833" r:id="rId7"/>
    <p:sldLayoutId id="2147483834" r:id="rId8"/>
    <p:sldLayoutId id="2147483835" r:id="rId9"/>
    <p:sldLayoutId id="2147483836" r:id="rId10"/>
    <p:sldLayoutId id="2147483837" r:id="rId11"/>
    <p:sldLayoutId id="2147483838" r:id="rId12"/>
    <p:sldLayoutId id="2147483839" r:id="rId13"/>
    <p:sldLayoutId id="2147483840" r:id="rId14"/>
    <p:sldLayoutId id="2147483841" r:id="rId15"/>
    <p:sldLayoutId id="2147483842" r:id="rId16"/>
    <p:sldLayoutId id="2147483843" r:id="rId17"/>
    <p:sldLayoutId id="2147483844" r:id="rId18"/>
    <p:sldLayoutId id="2147483845" r:id="rId19"/>
    <p:sldLayoutId id="2147483846" r:id="rId20"/>
    <p:sldLayoutId id="2147483847" r:id="rId21"/>
    <p:sldLayoutId id="2147483848" r:id="rId22"/>
    <p:sldLayoutId id="2147483849" r:id="rId23"/>
    <p:sldLayoutId id="2147483850" r:id="rId24"/>
    <p:sldLayoutId id="2147483851" r:id="rId25"/>
    <p:sldLayoutId id="2147483852" r:id="rId26"/>
    <p:sldLayoutId id="2147483853" r:id="rId27"/>
    <p:sldLayoutId id="2147483854" r:id="rId28"/>
    <p:sldLayoutId id="2147483855" r:id="rId29"/>
    <p:sldLayoutId id="2147483856" r:id="rId30"/>
    <p:sldLayoutId id="2147483857" r:id="rId31"/>
    <p:sldLayoutId id="2147483858" r:id="rId32"/>
    <p:sldLayoutId id="2147483859" r:id="rId33"/>
    <p:sldLayoutId id="2147483860" r:id="rId34"/>
    <p:sldLayoutId id="2147483861" r:id="rId35"/>
    <p:sldLayoutId id="2147483862" r:id="rId36"/>
    <p:sldLayoutId id="2147483863" r:id="rId37"/>
    <p:sldLayoutId id="2147483864" r:id="rId38"/>
    <p:sldLayoutId id="2147483865" r:id="rId39"/>
    <p:sldLayoutId id="2147483866" r:id="rId40"/>
    <p:sldLayoutId id="2147483867" r:id="rId41"/>
    <p:sldLayoutId id="2147483868" r:id="rId4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126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31" indent="-228531" algn="l" defTabSz="914126" rtl="0" eaLnBrk="1" latinLnBrk="0" hangingPunct="1">
        <a:lnSpc>
          <a:spcPct val="100000"/>
        </a:lnSpc>
        <a:spcBef>
          <a:spcPts val="1200"/>
        </a:spcBef>
        <a:buFont typeface="Trebuchet MS" panose="020B0603020202020204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indent="-228531" algn="l" defTabSz="914126" rtl="0" eaLnBrk="1" latinLnBrk="0" hangingPunct="1">
        <a:lnSpc>
          <a:spcPct val="100000"/>
        </a:lnSpc>
        <a:spcBef>
          <a:spcPts val="400"/>
        </a:spcBef>
        <a:buFont typeface="Trebuchet MS" panose="020B0603020202020204" pitchFamily="34" charset="0"/>
        <a:buChar char="—"/>
        <a:defRPr sz="1999" kern="1200">
          <a:solidFill>
            <a:schemeClr val="tx1"/>
          </a:solidFill>
          <a:latin typeface="+mn-lt"/>
          <a:ea typeface="+mn-ea"/>
          <a:cs typeface="+mn-cs"/>
        </a:defRPr>
      </a:lvl2pPr>
      <a:lvl3pPr marL="685594" indent="-228531" algn="l" defTabSz="914126" rtl="0" eaLnBrk="1" latinLnBrk="0" hangingPunct="1">
        <a:lnSpc>
          <a:spcPct val="100000"/>
        </a:lnSpc>
        <a:spcBef>
          <a:spcPts val="400"/>
        </a:spcBef>
        <a:buFont typeface="Trebuchet MS" panose="020B0603020202020204" pitchFamily="34" charset="0"/>
        <a:buChar char="—"/>
        <a:defRPr sz="1999" kern="1200">
          <a:solidFill>
            <a:schemeClr val="tx1"/>
          </a:solidFill>
          <a:latin typeface="+mn-lt"/>
          <a:ea typeface="+mn-ea"/>
          <a:cs typeface="+mn-cs"/>
        </a:defRPr>
      </a:lvl3pPr>
      <a:lvl4pPr marL="914126" indent="-228531" algn="l" defTabSz="914126" rtl="0" eaLnBrk="1" latinLnBrk="0" hangingPunct="1">
        <a:lnSpc>
          <a:spcPct val="100000"/>
        </a:lnSpc>
        <a:spcBef>
          <a:spcPts val="400"/>
        </a:spcBef>
        <a:buFont typeface="Trebuchet MS" panose="020B0603020202020204" pitchFamily="34" charset="0"/>
        <a:buChar char="—"/>
        <a:defRPr sz="1999" kern="1200">
          <a:solidFill>
            <a:schemeClr val="tx1"/>
          </a:solidFill>
          <a:latin typeface="+mn-lt"/>
          <a:ea typeface="+mn-ea"/>
          <a:cs typeface="+mn-cs"/>
        </a:defRPr>
      </a:lvl4pPr>
      <a:lvl5pPr marL="1142657" indent="-228531" algn="l" defTabSz="914126" rtl="0" eaLnBrk="1" latinLnBrk="0" hangingPunct="1">
        <a:lnSpc>
          <a:spcPct val="100000"/>
        </a:lnSpc>
        <a:spcBef>
          <a:spcPts val="400"/>
        </a:spcBef>
        <a:buFont typeface="Trebuchet MS" panose="020B0603020202020204" pitchFamily="34" charset="0"/>
        <a:buChar char="—"/>
        <a:defRPr sz="1999" kern="1200">
          <a:solidFill>
            <a:schemeClr val="tx1"/>
          </a:solidFill>
          <a:latin typeface="+mn-lt"/>
          <a:ea typeface="+mn-ea"/>
          <a:cs typeface="+mn-cs"/>
        </a:defRPr>
      </a:lvl5pPr>
      <a:lvl6pPr marL="1371189" indent="-228531" algn="l" defTabSz="914126" rtl="0" eaLnBrk="1" latinLnBrk="0" hangingPunct="1">
        <a:lnSpc>
          <a:spcPct val="100000"/>
        </a:lnSpc>
        <a:spcBef>
          <a:spcPts val="400"/>
        </a:spcBef>
        <a:buFont typeface="Trebuchet MS" panose="020B0603020202020204" pitchFamily="34" charset="0"/>
        <a:buChar char="—"/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1599720" indent="-228531" algn="l" defTabSz="914126" rtl="0" eaLnBrk="1" latinLnBrk="0" hangingPunct="1">
        <a:lnSpc>
          <a:spcPct val="100000"/>
        </a:lnSpc>
        <a:spcBef>
          <a:spcPts val="400"/>
        </a:spcBef>
        <a:buFont typeface="Trebuchet MS" panose="020B0603020202020204" pitchFamily="34" charset="0"/>
        <a:buChar char="—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1828251" indent="-228531" algn="l" defTabSz="914126" rtl="0" eaLnBrk="1" latinLnBrk="0" hangingPunct="1">
        <a:lnSpc>
          <a:spcPct val="100000"/>
        </a:lnSpc>
        <a:spcBef>
          <a:spcPts val="400"/>
        </a:spcBef>
        <a:buFont typeface="Trebuchet MS" panose="020B0603020202020204" pitchFamily="34" charset="0"/>
        <a:buChar char="—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2056783" indent="-228531" algn="l" defTabSz="914126" rtl="0" eaLnBrk="1" latinLnBrk="0" hangingPunct="1">
        <a:lnSpc>
          <a:spcPct val="100000"/>
        </a:lnSpc>
        <a:spcBef>
          <a:spcPts val="400"/>
        </a:spcBef>
        <a:buFont typeface="Trebuchet MS" panose="020B0603020202020204" pitchFamily="34" charset="0"/>
        <a:buChar char="—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26" rtl="0" eaLnBrk="1" latinLnBrk="0" hangingPunct="1">
        <a:defRPr sz="19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9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9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9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9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30">
          <p15:clr>
            <a:srgbClr val="F26B43"/>
          </p15:clr>
        </p15:guide>
        <p15:guide id="2" pos="230">
          <p15:clr>
            <a:srgbClr val="F26B43"/>
          </p15:clr>
        </p15:guide>
        <p15:guide id="3" pos="7450">
          <p15:clr>
            <a:srgbClr val="F26B43"/>
          </p15:clr>
        </p15:guide>
        <p15:guide id="5" orient="horz" pos="978">
          <p15:clr>
            <a:srgbClr val="F26B43"/>
          </p15:clr>
        </p15:guide>
        <p15:guide id="6" orient="horz" pos="386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20.sv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6" Type="http://schemas.openxmlformats.org/officeDocument/2006/relationships/image" Target="../media/image23.sv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video" Target="../media/media3.mp4"/><Relationship Id="rId1" Type="http://schemas.microsoft.com/office/2007/relationships/media" Target="../media/media3.mp4"/><Relationship Id="rId6" Type="http://schemas.openxmlformats.org/officeDocument/2006/relationships/image" Target="../media/image26.sv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3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4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14.png"/><Relationship Id="rId7" Type="http://schemas.openxmlformats.org/officeDocument/2006/relationships/image" Target="../media/image7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6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F2360227-39C4-805A-6584-C854FF156261}"/>
              </a:ext>
            </a:extLst>
          </p:cNvPr>
          <p:cNvSpPr/>
          <p:nvPr/>
        </p:nvSpPr>
        <p:spPr>
          <a:xfrm>
            <a:off x="1432956" y="1641571"/>
            <a:ext cx="9198821" cy="3551866"/>
          </a:xfrm>
          <a:prstGeom prst="rect">
            <a:avLst/>
          </a:prstGeom>
          <a:solidFill>
            <a:srgbClr val="FFFFFF"/>
          </a:solidFill>
          <a:ln>
            <a:solidFill>
              <a:srgbClr val="E4BEE0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rgbClr val="000000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200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55E1F21-C9A3-2E7E-73AA-7B7F6EDC8734}"/>
              </a:ext>
            </a:extLst>
          </p:cNvPr>
          <p:cNvSpPr/>
          <p:nvPr/>
        </p:nvSpPr>
        <p:spPr>
          <a:xfrm>
            <a:off x="1617576" y="1905039"/>
            <a:ext cx="8821387" cy="1913907"/>
          </a:xfrm>
          <a:prstGeom prst="rect">
            <a:avLst/>
          </a:prstGeom>
          <a:solidFill>
            <a:srgbClr val="BF6DB7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rgbClr val="000000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200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B7D3F5D-4ABE-5F89-E4EF-FC6608DD7753}"/>
              </a:ext>
            </a:extLst>
          </p:cNvPr>
          <p:cNvSpPr txBox="1"/>
          <p:nvPr/>
        </p:nvSpPr>
        <p:spPr>
          <a:xfrm>
            <a:off x="1658394" y="1687176"/>
            <a:ext cx="8873696" cy="2246769"/>
          </a:xfrm>
          <a:prstGeom prst="rect">
            <a:avLst/>
          </a:prstGeom>
          <a:noFill/>
        </p:spPr>
        <p:txBody>
          <a:bodyPr wrap="square" lIns="91440" tIns="45720" rIns="91440" bIns="45720" anchor="ctr">
            <a:spAutoFit/>
          </a:bodyPr>
          <a:lstStyle/>
          <a:p>
            <a:pPr algn="ctr"/>
            <a:r>
              <a:rPr lang="en-US" sz="3400" b="1" dirty="0">
                <a:solidFill>
                  <a:schemeClr val="bg1"/>
                </a:solidFill>
                <a:ea typeface="+mn-lt"/>
                <a:cs typeface="+mn-lt"/>
              </a:rPr>
              <a:t>Block by Block</a:t>
            </a:r>
          </a:p>
          <a:p>
            <a:pPr algn="ctr"/>
            <a:r>
              <a:rPr lang="en-US" sz="2400" b="1" dirty="0">
                <a:solidFill>
                  <a:schemeClr val="bg1"/>
                </a:solidFill>
                <a:ea typeface="+mn-lt"/>
                <a:cs typeface="+mn-lt"/>
              </a:rPr>
              <a:t>Introducing blockr, the Flexible Open-Source Dashboard Builder</a:t>
            </a:r>
          </a:p>
          <a:p>
            <a:pPr algn="ctr"/>
            <a:r>
              <a:rPr lang="en-US" sz="2400" b="1" dirty="0">
                <a:solidFill>
                  <a:schemeClr val="bg1"/>
                </a:solidFill>
                <a:ea typeface="+mn-lt"/>
                <a:cs typeface="+mn-lt"/>
              </a:rPr>
              <a:t>OS12</a:t>
            </a:r>
          </a:p>
          <a:p>
            <a:pPr algn="ctr"/>
            <a:endParaRPr lang="en-US" sz="3400" dirty="0">
              <a:solidFill>
                <a:schemeClr val="bg1"/>
              </a:solidFill>
              <a:ea typeface="+mn-lt"/>
              <a:cs typeface="+mn-lt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1C7A887-0BB5-98C8-937B-CED9DEFAB2E2}"/>
              </a:ext>
            </a:extLst>
          </p:cNvPr>
          <p:cNvSpPr/>
          <p:nvPr/>
        </p:nvSpPr>
        <p:spPr>
          <a:xfrm>
            <a:off x="1617575" y="4063835"/>
            <a:ext cx="8821387" cy="884712"/>
          </a:xfrm>
          <a:prstGeom prst="rect">
            <a:avLst/>
          </a:prstGeom>
          <a:solidFill>
            <a:srgbClr val="DAAAD5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rgbClr val="000000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200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43D11CC-CDEE-40DC-9363-7EDBAF02722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14220" y="4091916"/>
            <a:ext cx="6392710" cy="864763"/>
          </a:xfrm>
        </p:spPr>
        <p:txBody>
          <a:bodyPr vert="horz" lIns="0" tIns="0" rIns="0" bIns="0" spcCol="301752" rtlCol="0" anchor="ctr">
            <a:no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</a:rPr>
              <a:t>Karma Tarap &amp; John Coene</a:t>
            </a:r>
          </a:p>
          <a:p>
            <a:pPr algn="ctr"/>
            <a:r>
              <a:rPr lang="en-US" sz="1800" dirty="0">
                <a:solidFill>
                  <a:schemeClr val="bg1"/>
                </a:solidFill>
              </a:rPr>
              <a:t>PHUSE EU CONNECT 2024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5596D79-E104-1A4B-3E8D-11A4DA37EF33}"/>
              </a:ext>
            </a:extLst>
          </p:cNvPr>
          <p:cNvSpPr txBox="1"/>
          <p:nvPr/>
        </p:nvSpPr>
        <p:spPr>
          <a:xfrm>
            <a:off x="7847446" y="5787527"/>
            <a:ext cx="3992129" cy="646331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r"/>
            <a:endParaRPr lang="en-US"/>
          </a:p>
          <a:p>
            <a:pPr algn="r"/>
            <a:r>
              <a:rPr lang="en-US"/>
              <a:t>Statistical Programming - GBDS</a:t>
            </a:r>
          </a:p>
        </p:txBody>
      </p:sp>
    </p:spTree>
    <p:extLst>
      <p:ext uri="{BB962C8B-B14F-4D97-AF65-F5344CB8AC3E}">
        <p14:creationId xmlns:p14="http://schemas.microsoft.com/office/powerpoint/2010/main" val="1959899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6EEEFB-8730-26AE-DFE4-FB29178D8A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82505" y="365760"/>
            <a:ext cx="11460480" cy="914400"/>
          </a:xfrm>
        </p:spPr>
        <p:txBody>
          <a:bodyPr anchor="t">
            <a:normAutofit/>
          </a:bodyPr>
          <a:lstStyle/>
          <a:p>
            <a:r>
              <a:rPr lang="en-US"/>
              <a:t>Empowering the Researcher</a:t>
            </a:r>
          </a:p>
        </p:txBody>
      </p:sp>
      <p:pic>
        <p:nvPicPr>
          <p:cNvPr id="3" name="researcher">
            <a:hlinkClick r:id="" action="ppaction://media"/>
            <a:extLst>
              <a:ext uri="{FF2B5EF4-FFF2-40B4-BE49-F238E27FC236}">
                <a16:creationId xmlns:a16="http://schemas.microsoft.com/office/drawing/2014/main" id="{621D989F-2452-EACD-561A-861E9650B2F8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2032000" y="1280160"/>
            <a:ext cx="8128000" cy="457200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4" name="Graphic 3" descr="Aspiration with solid fill">
            <a:extLst>
              <a:ext uri="{FF2B5EF4-FFF2-40B4-BE49-F238E27FC236}">
                <a16:creationId xmlns:a16="http://schemas.microsoft.com/office/drawing/2014/main" id="{9B56E254-50A5-8605-AD10-BCC1D9E9209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36135" y="153659"/>
            <a:ext cx="1194612" cy="11946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6371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88267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6EEEFB-8730-26AE-DFE4-FB29178D8A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24549" y="392393"/>
            <a:ext cx="11460480" cy="914400"/>
          </a:xfrm>
        </p:spPr>
        <p:txBody>
          <a:bodyPr anchor="t">
            <a:normAutofit/>
          </a:bodyPr>
          <a:lstStyle/>
          <a:p>
            <a:r>
              <a:rPr lang="en-US"/>
              <a:t>Unleashing the Statistician </a:t>
            </a:r>
          </a:p>
        </p:txBody>
      </p:sp>
      <p:pic>
        <p:nvPicPr>
          <p:cNvPr id="11" name="statistician">
            <a:hlinkClick r:id="" action="ppaction://media"/>
            <a:extLst>
              <a:ext uri="{FF2B5EF4-FFF2-40B4-BE49-F238E27FC236}">
                <a16:creationId xmlns:a16="http://schemas.microsoft.com/office/drawing/2014/main" id="{9BA41660-23E1-A156-4E2D-534E52053CDB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2111899" y="1306793"/>
            <a:ext cx="8128000" cy="4572000"/>
          </a:xfrm>
          <a:prstGeom prst="rect">
            <a:avLst/>
          </a:prstGeom>
          <a:solidFill>
            <a:srgbClr val="4F81BD"/>
          </a:solidFill>
          <a:ln>
            <a:noFill/>
          </a:ln>
          <a:effectLst>
            <a:innerShdw blurRad="469900">
              <a:srgbClr val="000000">
                <a:alpha val="86000"/>
              </a:srgbClr>
            </a:innerShdw>
          </a:effectLst>
          <a:scene3d>
            <a:camera prst="orthographicFront"/>
            <a:lightRig rig="soft" dir="t"/>
          </a:scene3d>
          <a:sp3d/>
        </p:spPr>
      </p:pic>
      <p:pic>
        <p:nvPicPr>
          <p:cNvPr id="3" name="Graphic 2" descr="Head with gears with solid fill">
            <a:extLst>
              <a:ext uri="{FF2B5EF4-FFF2-40B4-BE49-F238E27FC236}">
                <a16:creationId xmlns:a16="http://schemas.microsoft.com/office/drawing/2014/main" id="{328F3D6F-42ED-D0CA-72FB-F53ED4C11C3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10567" y="193150"/>
            <a:ext cx="1013982" cy="10139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1846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5834" fill="hold"/>
                                        <p:tgtEl>
                                          <p:spTgt spid="11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11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1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11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1"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6EEEFB-8730-26AE-DFE4-FB29178D8A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73124" y="297155"/>
            <a:ext cx="11460480" cy="914400"/>
          </a:xfrm>
        </p:spPr>
        <p:txBody>
          <a:bodyPr anchor="t">
            <a:normAutofit/>
          </a:bodyPr>
          <a:lstStyle/>
          <a:p>
            <a:r>
              <a:rPr lang="en-US"/>
              <a:t>Liberating the Programmer</a:t>
            </a:r>
          </a:p>
        </p:txBody>
      </p:sp>
      <p:pic>
        <p:nvPicPr>
          <p:cNvPr id="9" name="programmer">
            <a:hlinkClick r:id="" action="ppaction://media"/>
            <a:extLst>
              <a:ext uri="{FF2B5EF4-FFF2-40B4-BE49-F238E27FC236}">
                <a16:creationId xmlns:a16="http://schemas.microsoft.com/office/drawing/2014/main" id="{9EBE690A-D820-6AA3-B5D8-2711072F70A9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819922" y="932155"/>
            <a:ext cx="8877670" cy="4993689"/>
          </a:xfrm>
          <a:prstGeom prst="rect">
            <a:avLst/>
          </a:prstGeom>
          <a:solidFill>
            <a:srgbClr val="4F81BD"/>
          </a:solidFill>
          <a:ln>
            <a:noFill/>
          </a:ln>
          <a:effectLst>
            <a:innerShdw blurRad="469900">
              <a:srgbClr val="000000">
                <a:alpha val="86000"/>
              </a:srgbClr>
            </a:innerShdw>
          </a:effectLst>
          <a:scene3d>
            <a:camera prst="orthographicFront"/>
            <a:lightRig rig="soft" dir="t"/>
          </a:scene3d>
          <a:sp3d/>
        </p:spPr>
      </p:pic>
      <p:pic>
        <p:nvPicPr>
          <p:cNvPr id="3" name="Graphic 2" descr="Business Growth with solid fill">
            <a:extLst>
              <a:ext uri="{FF2B5EF4-FFF2-40B4-BE49-F238E27FC236}">
                <a16:creationId xmlns:a16="http://schemas.microsoft.com/office/drawing/2014/main" id="{D2E4F9BC-EC78-1B3F-F9EE-4DDAC80C395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13205" y="297155"/>
            <a:ext cx="1051609" cy="10516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3090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0284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9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9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9"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9F24FE-AB71-263A-92C5-58A9050D55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760" y="365760"/>
            <a:ext cx="11460480" cy="914400"/>
          </a:xfrm>
        </p:spPr>
        <p:txBody>
          <a:bodyPr anchor="t">
            <a:normAutofit/>
          </a:bodyPr>
          <a:lstStyle/>
          <a:p>
            <a:r>
              <a:rPr lang="en-US"/>
              <a:t>Multi-Dashboard Management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3BA745AD-BE54-4550-A763-E47675C768B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283369" y="1143000"/>
            <a:ext cx="9625261" cy="4572000"/>
          </a:xfrm>
          <a:prstGeom prst="rect">
            <a:avLst/>
          </a:prstGeom>
          <a:ln w="19050">
            <a:solidFill>
              <a:schemeClr val="tx1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685145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white rectangle with purple edges&#10;&#10;Description automatically generated">
            <a:extLst>
              <a:ext uri="{FF2B5EF4-FFF2-40B4-BE49-F238E27FC236}">
                <a16:creationId xmlns:a16="http://schemas.microsoft.com/office/drawing/2014/main" id="{7BCF2446-4137-056E-B211-AF7B15D3F2C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8694" y="150565"/>
            <a:ext cx="11797283" cy="6125947"/>
          </a:xfrm>
          <a:prstGeom prst="rect">
            <a:avLst/>
          </a:prstGeom>
        </p:spPr>
      </p:pic>
      <p:sp>
        <p:nvSpPr>
          <p:cNvPr id="5" name="Speech Bubble: Rectangle with Corners Rounded 4">
            <a:extLst>
              <a:ext uri="{FF2B5EF4-FFF2-40B4-BE49-F238E27FC236}">
                <a16:creationId xmlns:a16="http://schemas.microsoft.com/office/drawing/2014/main" id="{7D267F4E-EDA7-521A-1749-6E1882B955D7}"/>
              </a:ext>
            </a:extLst>
          </p:cNvPr>
          <p:cNvSpPr/>
          <p:nvPr/>
        </p:nvSpPr>
        <p:spPr>
          <a:xfrm>
            <a:off x="1384156" y="1456325"/>
            <a:ext cx="3532578" cy="1325853"/>
          </a:xfrm>
          <a:prstGeom prst="wedgeRoundRectCallout">
            <a:avLst/>
          </a:prstGeom>
          <a:solidFill>
            <a:srgbClr val="BF6DB7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rgbClr val="00000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“I can answer new questions as they arise. I can also save my analysis and share them”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AA1C448-0B4C-072A-98B3-667D7157AA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50565"/>
            <a:ext cx="10515600" cy="1453257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5200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The Verdict</a:t>
            </a:r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B9EF0917-19BD-4F33-5D03-8903164DA04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49304352"/>
              </p:ext>
            </p:extLst>
          </p:nvPr>
        </p:nvGraphicFramePr>
        <p:xfrm>
          <a:off x="1152912" y="5508326"/>
          <a:ext cx="10226925" cy="457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408975">
                  <a:extLst>
                    <a:ext uri="{9D8B030D-6E8A-4147-A177-3AD203B41FA5}">
                      <a16:colId xmlns:a16="http://schemas.microsoft.com/office/drawing/2014/main" val="288293579"/>
                    </a:ext>
                  </a:extLst>
                </a:gridCol>
                <a:gridCol w="3408975">
                  <a:extLst>
                    <a:ext uri="{9D8B030D-6E8A-4147-A177-3AD203B41FA5}">
                      <a16:colId xmlns:a16="http://schemas.microsoft.com/office/drawing/2014/main" val="3592523975"/>
                    </a:ext>
                  </a:extLst>
                </a:gridCol>
                <a:gridCol w="3408975">
                  <a:extLst>
                    <a:ext uri="{9D8B030D-6E8A-4147-A177-3AD203B41FA5}">
                      <a16:colId xmlns:a16="http://schemas.microsoft.com/office/drawing/2014/main" val="87851120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400">
                          <a:solidFill>
                            <a:schemeClr val="tx1"/>
                          </a:solidFill>
                          <a:latin typeface="Aptos Light" panose="020B0004020202020204" pitchFamily="34" charset="0"/>
                        </a:rPr>
                        <a:t>The Scientist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>
                          <a:solidFill>
                            <a:schemeClr val="tx1"/>
                          </a:solidFill>
                          <a:latin typeface="Aptos Light" panose="020B0004020202020204" pitchFamily="34" charset="0"/>
                        </a:rPr>
                        <a:t>The Statistician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>
                          <a:solidFill>
                            <a:schemeClr val="tx1"/>
                          </a:solidFill>
                          <a:latin typeface="Aptos Light" panose="020B0004020202020204" pitchFamily="34" charset="0"/>
                        </a:rPr>
                        <a:t>The Programmer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7081136"/>
                  </a:ext>
                </a:extLst>
              </a:tr>
            </a:tbl>
          </a:graphicData>
        </a:graphic>
      </p:graphicFrame>
      <p:sp>
        <p:nvSpPr>
          <p:cNvPr id="6" name="Speech Bubble: Rectangle with Corners Rounded 5">
            <a:extLst>
              <a:ext uri="{FF2B5EF4-FFF2-40B4-BE49-F238E27FC236}">
                <a16:creationId xmlns:a16="http://schemas.microsoft.com/office/drawing/2014/main" id="{FFEA4B30-03B5-F524-A603-FC1BAE940EF0}"/>
              </a:ext>
            </a:extLst>
          </p:cNvPr>
          <p:cNvSpPr/>
          <p:nvPr/>
        </p:nvSpPr>
        <p:spPr>
          <a:xfrm>
            <a:off x="5166010" y="1527959"/>
            <a:ext cx="2756107" cy="1184453"/>
          </a:xfrm>
          <a:prstGeom prst="wedgeRoundRectCallout">
            <a:avLst/>
          </a:prstGeom>
          <a:solidFill>
            <a:srgbClr val="BF6DB7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rgbClr val="00000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“I can now easily share my models with others!”</a:t>
            </a:r>
          </a:p>
        </p:txBody>
      </p:sp>
      <p:sp>
        <p:nvSpPr>
          <p:cNvPr id="7" name="Speech Bubble: Rectangle with Corners Rounded 6">
            <a:extLst>
              <a:ext uri="{FF2B5EF4-FFF2-40B4-BE49-F238E27FC236}">
                <a16:creationId xmlns:a16="http://schemas.microsoft.com/office/drawing/2014/main" id="{6E4D4C6D-D8CF-AB5B-E201-E37E506F9B37}"/>
              </a:ext>
            </a:extLst>
          </p:cNvPr>
          <p:cNvSpPr/>
          <p:nvPr/>
        </p:nvSpPr>
        <p:spPr>
          <a:xfrm>
            <a:off x="8137743" y="1507348"/>
            <a:ext cx="2756107" cy="1184453"/>
          </a:xfrm>
          <a:prstGeom prst="wedgeRoundRectCallout">
            <a:avLst/>
          </a:prstGeom>
          <a:solidFill>
            <a:srgbClr val="BF6DB7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rgbClr val="00000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“I can finally focus on creating high-quality, reusable components!”</a:t>
            </a:r>
          </a:p>
        </p:txBody>
      </p:sp>
      <p:pic>
        <p:nvPicPr>
          <p:cNvPr id="14" name="Content Placeholder 4" descr="A cartoon of a person with glasses&#10;&#10;Description automatically generated">
            <a:extLst>
              <a:ext uri="{FF2B5EF4-FFF2-40B4-BE49-F238E27FC236}">
                <a16:creationId xmlns:a16="http://schemas.microsoft.com/office/drawing/2014/main" id="{35D98C9E-5187-F03E-F31A-215837AC6CF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8901" y="2802790"/>
            <a:ext cx="2332625" cy="2473996"/>
          </a:xfrm>
          <a:prstGeom prst="rect">
            <a:avLst/>
          </a:prstGeom>
        </p:spPr>
      </p:pic>
      <p:pic>
        <p:nvPicPr>
          <p:cNvPr id="15" name="Content Placeholder 7" descr="A cartoon of a person wearing glasses&#10;&#10;Description automatically generated">
            <a:extLst>
              <a:ext uri="{FF2B5EF4-FFF2-40B4-BE49-F238E27FC236}">
                <a16:creationId xmlns:a16="http://schemas.microsoft.com/office/drawing/2014/main" id="{999121D3-931E-507F-E5E3-A91E8389339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0062" y="2723344"/>
            <a:ext cx="2332627" cy="2473997"/>
          </a:xfrm>
          <a:prstGeom prst="rect">
            <a:avLst/>
          </a:prstGeom>
        </p:spPr>
      </p:pic>
      <p:pic>
        <p:nvPicPr>
          <p:cNvPr id="16" name="Content Placeholder 6" descr="A cartoon of a person with long hair and glasses&#10;&#10;Description automatically generated">
            <a:extLst>
              <a:ext uri="{FF2B5EF4-FFF2-40B4-BE49-F238E27FC236}">
                <a16:creationId xmlns:a16="http://schemas.microsoft.com/office/drawing/2014/main" id="{38482EEE-64C5-7369-3F69-2370EEACEDE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61225" y="2791599"/>
            <a:ext cx="2332625" cy="24739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4059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7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6B6AE369-E4CF-66EB-A43B-737EA4B2E872}"/>
              </a:ext>
            </a:extLst>
          </p:cNvPr>
          <p:cNvSpPr/>
          <p:nvPr/>
        </p:nvSpPr>
        <p:spPr>
          <a:xfrm>
            <a:off x="218388" y="1489599"/>
            <a:ext cx="11752261" cy="4662627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rgbClr val="000000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20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86EEEFB-8730-26AE-DFE4-FB29178D8A8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65758" y="365125"/>
            <a:ext cx="7539993" cy="914400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Join the </a:t>
            </a:r>
            <a:r>
              <a:rPr lang="en-US">
                <a:solidFill>
                  <a:srgbClr val="BF6DB7"/>
                </a:solidFill>
              </a:rPr>
              <a:t>{blockr} </a:t>
            </a:r>
            <a:r>
              <a:rPr lang="en-US"/>
              <a:t>Revolution</a:t>
            </a:r>
          </a:p>
        </p:txBody>
      </p:sp>
      <p:sp>
        <p:nvSpPr>
          <p:cNvPr id="4" name="Rectangle 1">
            <a:extLst>
              <a:ext uri="{FF2B5EF4-FFF2-40B4-BE49-F238E27FC236}">
                <a16:creationId xmlns:a16="http://schemas.microsoft.com/office/drawing/2014/main" id="{CBE4A043-29F9-3537-A5BF-F450002FC926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1295672" y="1560620"/>
            <a:ext cx="9407524" cy="1171575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marL="0" marR="0" lvl="0" indent="0" algn="ct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3300" b="0" i="0" u="sng" strike="noStrike" cap="none" normalizeH="0" baseline="0">
              <a:ln>
                <a:noFill/>
              </a:ln>
              <a:effectLst/>
            </a:endParaRPr>
          </a:p>
          <a:p>
            <a:pPr marL="0" marR="0" lvl="0" indent="0" algn="ct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Tx/>
              <a:buSzTx/>
              <a:buNone/>
              <a:tabLst/>
            </a:pPr>
            <a:r>
              <a:rPr kumimoji="0" lang="en-US" altLang="en-US" sz="3300" b="0" i="0" u="sng" strike="noStrike" cap="none" normalizeH="0" baseline="0">
                <a:ln>
                  <a:noFill/>
                </a:ln>
                <a:solidFill>
                  <a:srgbClr val="BF6DB7"/>
                </a:solidFill>
                <a:effectLst/>
              </a:rPr>
              <a:t>https://github.com/BristolMyersSquibb/blockr </a:t>
            </a:r>
          </a:p>
          <a:p>
            <a:pPr marL="0" marR="0" lvl="0" indent="0" algn="ct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Tx/>
              <a:buSzTx/>
              <a:buNone/>
              <a:tabLst/>
            </a:pPr>
            <a:endParaRPr kumimoji="0" lang="en-US" altLang="en-US" sz="3300" b="0" i="0" u="sng" strike="noStrike" cap="none" normalizeH="0" baseline="0">
              <a:ln>
                <a:noFill/>
              </a:ln>
              <a:effectLst/>
            </a:endParaRPr>
          </a:p>
          <a:p>
            <a:pPr marL="0" marR="0" lvl="0" indent="0" algn="ct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3300" b="0" i="0" u="sng" strike="noStrike" cap="none" normalizeH="0" baseline="0">
              <a:ln>
                <a:noFill/>
              </a:ln>
              <a:effectLst/>
            </a:endParaRPr>
          </a:p>
        </p:txBody>
      </p:sp>
      <p:pic>
        <p:nvPicPr>
          <p:cNvPr id="5" name="Picture 4" descr="A white rectangular object with black text&#10;&#10;Description automatically generated">
            <a:extLst>
              <a:ext uri="{FF2B5EF4-FFF2-40B4-BE49-F238E27FC236}">
                <a16:creationId xmlns:a16="http://schemas.microsoft.com/office/drawing/2014/main" id="{8A042510-ABD6-6A99-31B9-8DCFEFF0C0B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1" r="3404" b="14443"/>
          <a:stretch/>
        </p:blipFill>
        <p:spPr>
          <a:xfrm>
            <a:off x="958787" y="2732195"/>
            <a:ext cx="10271465" cy="287849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4282649319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4000">
        <p15:prstTrans prst="curtains"/>
      </p:transition>
    </mc:Choice>
    <mc:Fallback xmlns="">
      <p:transition spd="slow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420077-2E97-4E8D-B70F-F661394266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Q&amp;A | Any questions?</a:t>
            </a:r>
            <a:br>
              <a:rPr lang="en-US"/>
            </a:br>
            <a:endParaRPr lang="en-US"/>
          </a:p>
        </p:txBody>
      </p:sp>
      <p:pic>
        <p:nvPicPr>
          <p:cNvPr id="8" name="Graphic 7" descr="Questions with solid fill">
            <a:extLst>
              <a:ext uri="{FF2B5EF4-FFF2-40B4-BE49-F238E27FC236}">
                <a16:creationId xmlns:a16="http://schemas.microsoft.com/office/drawing/2014/main" id="{EF3A13C1-8EE3-F826-E125-45176F723AB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348875" y="944249"/>
            <a:ext cx="4836337" cy="48363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10207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05629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E3FA7E2E-FB88-8CB6-1B16-528F42BD5791}"/>
              </a:ext>
            </a:extLst>
          </p:cNvPr>
          <p:cNvSpPr/>
          <p:nvPr/>
        </p:nvSpPr>
        <p:spPr>
          <a:xfrm>
            <a:off x="5961487" y="2002162"/>
            <a:ext cx="1995474" cy="413980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rgbClr val="000000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2000">
              <a:solidFill>
                <a:schemeClr val="bg1"/>
              </a:solidFill>
            </a:endParaRPr>
          </a:p>
        </p:txBody>
      </p:sp>
      <p:pic>
        <p:nvPicPr>
          <p:cNvPr id="3" name="Picture 2" descr="A white rectangle with purple edges&#10;&#10;Description automatically generated">
            <a:extLst>
              <a:ext uri="{FF2B5EF4-FFF2-40B4-BE49-F238E27FC236}">
                <a16:creationId xmlns:a16="http://schemas.microsoft.com/office/drawing/2014/main" id="{4B5AECBA-E507-AB2F-7C14-75C6540FC5B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9747" y="161497"/>
            <a:ext cx="11802863" cy="6115015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A4C6FF-4514-C097-F1FC-82EEE6BE7E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06443"/>
          </a:xfrm>
        </p:spPr>
        <p:txBody>
          <a:bodyPr>
            <a:normAutofit/>
          </a:bodyPr>
          <a:lstStyle/>
          <a:p>
            <a:r>
              <a:rPr lang="en-US" sz="4000" dirty="0"/>
              <a:t>The Growing Complexity of Clinical Dashboards</a:t>
            </a:r>
          </a:p>
        </p:txBody>
      </p:sp>
      <p:sp>
        <p:nvSpPr>
          <p:cNvPr id="1030" name="Content Placeholder 1029">
            <a:extLst>
              <a:ext uri="{FF2B5EF4-FFF2-40B4-BE49-F238E27FC236}">
                <a16:creationId xmlns:a16="http://schemas.microsoft.com/office/drawing/2014/main" id="{16263528-E749-64E4-555E-DC9272480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199" y="5284414"/>
            <a:ext cx="5048249" cy="763962"/>
          </a:xfrm>
        </p:spPr>
        <p:txBody>
          <a:bodyPr>
            <a:normAutofit fontScale="92500" lnSpcReduction="20000"/>
          </a:bodyPr>
          <a:lstStyle/>
          <a:p>
            <a:pPr>
              <a:buFont typeface="Arial" panose="020B0604020202020204" pitchFamily="34" charset="0"/>
              <a:buChar char="•"/>
            </a:pPr>
            <a:endParaRPr lang="en-US"/>
          </a:p>
          <a:p>
            <a:pPr marL="0" indent="0">
              <a:buNone/>
            </a:pPr>
            <a:r>
              <a:rPr lang="en-US" sz="2800" b="1">
                <a:solidFill>
                  <a:srgbClr val="9D4595"/>
                </a:solidFill>
              </a:rPr>
              <a:t>The ONLY constant is Change!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/>
          </a:p>
        </p:txBody>
      </p:sp>
      <p:sp>
        <p:nvSpPr>
          <p:cNvPr id="12" name="Content Placeholder 1029">
            <a:extLst>
              <a:ext uri="{FF2B5EF4-FFF2-40B4-BE49-F238E27FC236}">
                <a16:creationId xmlns:a16="http://schemas.microsoft.com/office/drawing/2014/main" id="{33513DE1-D904-6707-BE40-F635EC797F98}"/>
              </a:ext>
            </a:extLst>
          </p:cNvPr>
          <p:cNvSpPr txBox="1">
            <a:spLocks/>
          </p:cNvSpPr>
          <p:nvPr/>
        </p:nvSpPr>
        <p:spPr>
          <a:xfrm>
            <a:off x="917545" y="1908569"/>
            <a:ext cx="5048250" cy="11610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/>
              <a:t>“</a:t>
            </a:r>
            <a:r>
              <a:rPr lang="en-US" sz="2400" i="1"/>
              <a:t>I just need a simple safety monitoring dashboard using SDTM data</a:t>
            </a:r>
            <a:r>
              <a:rPr lang="en-US" sz="2400"/>
              <a:t>”</a:t>
            </a:r>
          </a:p>
        </p:txBody>
      </p:sp>
      <p:sp>
        <p:nvSpPr>
          <p:cNvPr id="13" name="Content Placeholder 1029">
            <a:extLst>
              <a:ext uri="{FF2B5EF4-FFF2-40B4-BE49-F238E27FC236}">
                <a16:creationId xmlns:a16="http://schemas.microsoft.com/office/drawing/2014/main" id="{8B7CFEB0-838B-6E76-9BD8-F144F58BD9C6}"/>
              </a:ext>
            </a:extLst>
          </p:cNvPr>
          <p:cNvSpPr txBox="1">
            <a:spLocks/>
          </p:cNvSpPr>
          <p:nvPr/>
        </p:nvSpPr>
        <p:spPr>
          <a:xfrm>
            <a:off x="916109" y="2985234"/>
            <a:ext cx="5048250" cy="75415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i="1"/>
              <a:t>"Can merge external lab data from these CSVs?”</a:t>
            </a:r>
          </a:p>
        </p:txBody>
      </p:sp>
      <p:sp>
        <p:nvSpPr>
          <p:cNvPr id="15" name="Content Placeholder 1029">
            <a:extLst>
              <a:ext uri="{FF2B5EF4-FFF2-40B4-BE49-F238E27FC236}">
                <a16:creationId xmlns:a16="http://schemas.microsoft.com/office/drawing/2014/main" id="{3D1AE294-F184-4DA2-9F5B-7CD882A6C408}"/>
              </a:ext>
            </a:extLst>
          </p:cNvPr>
          <p:cNvSpPr txBox="1">
            <a:spLocks/>
          </p:cNvSpPr>
          <p:nvPr/>
        </p:nvSpPr>
        <p:spPr>
          <a:xfrm>
            <a:off x="914673" y="3788383"/>
            <a:ext cx="5048250" cy="740745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en-US" sz="2400" i="1"/>
              <a:t>“Actually, efficacy is really important too”</a:t>
            </a:r>
          </a:p>
        </p:txBody>
      </p:sp>
      <p:sp>
        <p:nvSpPr>
          <p:cNvPr id="16" name="Content Placeholder 1029">
            <a:extLst>
              <a:ext uri="{FF2B5EF4-FFF2-40B4-BE49-F238E27FC236}">
                <a16:creationId xmlns:a16="http://schemas.microsoft.com/office/drawing/2014/main" id="{E73284C7-6EE7-F8CA-D548-83A75AD53221}"/>
              </a:ext>
            </a:extLst>
          </p:cNvPr>
          <p:cNvSpPr txBox="1">
            <a:spLocks/>
          </p:cNvSpPr>
          <p:nvPr/>
        </p:nvSpPr>
        <p:spPr>
          <a:xfrm>
            <a:off x="913237" y="4494675"/>
            <a:ext cx="5048250" cy="740745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en-US" sz="2400" i="1"/>
              <a:t>“We want to use some plots for decision making URGENTLY</a:t>
            </a:r>
            <a:r>
              <a:rPr lang="en-US" sz="2400"/>
              <a:t>”</a:t>
            </a:r>
          </a:p>
        </p:txBody>
      </p:sp>
      <p:pic>
        <p:nvPicPr>
          <p:cNvPr id="5" name="Picture 4" descr="A drawing of a horse&#10;&#10;Description automatically generated">
            <a:extLst>
              <a:ext uri="{FF2B5EF4-FFF2-40B4-BE49-F238E27FC236}">
                <a16:creationId xmlns:a16="http://schemas.microsoft.com/office/drawing/2014/main" id="{3B294919-2DFD-9C61-2CB4-E1270961FFEB}"/>
              </a:ext>
            </a:extLst>
          </p:cNvPr>
          <p:cNvPicPr preferRelativeResize="0">
            <a:picLocks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6152097" y="1611644"/>
            <a:ext cx="5392312" cy="4139807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0A53BEEC-013C-B75E-F084-B8D2EC5FAE2C}"/>
              </a:ext>
            </a:extLst>
          </p:cNvPr>
          <p:cNvSpPr/>
          <p:nvPr/>
        </p:nvSpPr>
        <p:spPr>
          <a:xfrm>
            <a:off x="8144699" y="1611644"/>
            <a:ext cx="932726" cy="41398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D9B148D-08FD-A847-CA55-E5E0BA792BE8}"/>
              </a:ext>
            </a:extLst>
          </p:cNvPr>
          <p:cNvSpPr/>
          <p:nvPr/>
        </p:nvSpPr>
        <p:spPr>
          <a:xfrm>
            <a:off x="9074552" y="1623688"/>
            <a:ext cx="947956" cy="412776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2AC67F6-246F-5995-89D5-A5327CD61718}"/>
              </a:ext>
            </a:extLst>
          </p:cNvPr>
          <p:cNvSpPr/>
          <p:nvPr/>
        </p:nvSpPr>
        <p:spPr>
          <a:xfrm>
            <a:off x="10022508" y="1623688"/>
            <a:ext cx="1521901" cy="412776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3BB1924-D45F-76E6-B49D-2582A7010A60}"/>
              </a:ext>
            </a:extLst>
          </p:cNvPr>
          <p:cNvSpPr/>
          <p:nvPr/>
        </p:nvSpPr>
        <p:spPr>
          <a:xfrm>
            <a:off x="6146067" y="1623688"/>
            <a:ext cx="2004662" cy="41277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63992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2" presetClass="exit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1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xit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1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2" presetClass="exit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2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22" presetClass="exit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3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30" grpId="0" build="p"/>
      <p:bldP spid="12" grpId="0"/>
      <p:bldP spid="13" grpId="0"/>
      <p:bldP spid="15" grpId="0"/>
      <p:bldP spid="16" grpId="0"/>
      <p:bldP spid="7" grpId="0" animBg="1"/>
      <p:bldP spid="8" grpId="0" animBg="1"/>
      <p:bldP spid="9" grpId="0" animBg="1"/>
      <p:bldP spid="11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white rectangle with purple edges&#10;&#10;Description automatically generated">
            <a:extLst>
              <a:ext uri="{FF2B5EF4-FFF2-40B4-BE49-F238E27FC236}">
                <a16:creationId xmlns:a16="http://schemas.microsoft.com/office/drawing/2014/main" id="{77A39DB0-FD55-E581-CB7D-39E43AF610F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9747" y="161497"/>
            <a:ext cx="11776230" cy="611501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AA1C448-0B4C-072A-98B3-667D7157AA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557189"/>
            <a:ext cx="10515600" cy="1453257"/>
          </a:xfrm>
        </p:spPr>
        <p:txBody>
          <a:bodyPr vert="horz" lIns="91440" tIns="45720" rIns="91440" bIns="45720" rtlCol="0" anchor="ctr">
            <a:normAutofit fontScale="90000"/>
          </a:bodyPr>
          <a:lstStyle/>
          <a:p>
            <a:r>
              <a:rPr lang="en-US" sz="5200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The Faces of Clinical Data Analysis</a:t>
            </a:r>
          </a:p>
        </p:txBody>
      </p:sp>
      <p:pic>
        <p:nvPicPr>
          <p:cNvPr id="5" name="Content Placeholder 4" descr="A cartoon of a person with long hair and glasses&#10;&#10;Description automatically generated">
            <a:extLst>
              <a:ext uri="{FF2B5EF4-FFF2-40B4-BE49-F238E27FC236}">
                <a16:creationId xmlns:a16="http://schemas.microsoft.com/office/drawing/2014/main" id="{D78455A9-B8EC-F847-7CFB-A3034AE35F9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5601" y="1821825"/>
            <a:ext cx="3029524" cy="3214350"/>
          </a:xfrm>
          <a:prstGeom prst="rect">
            <a:avLst/>
          </a:prstGeom>
        </p:spPr>
      </p:pic>
      <p:pic>
        <p:nvPicPr>
          <p:cNvPr id="7" name="Picture 6" descr="A person wearing glasses and smiling&#10;&#10;Description automatically generated">
            <a:extLst>
              <a:ext uri="{FF2B5EF4-FFF2-40B4-BE49-F238E27FC236}">
                <a16:creationId xmlns:a16="http://schemas.microsoft.com/office/drawing/2014/main" id="{97A68235-0825-9488-B949-34574AB8E69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53585" y="1821825"/>
            <a:ext cx="3029524" cy="3214349"/>
          </a:xfrm>
          <a:prstGeom prst="rect">
            <a:avLst/>
          </a:prstGeom>
        </p:spPr>
      </p:pic>
      <p:pic>
        <p:nvPicPr>
          <p:cNvPr id="9" name="Picture 8" descr="A cartoon of a person wearing glasses&#10;&#10;Description automatically generated">
            <a:extLst>
              <a:ext uri="{FF2B5EF4-FFF2-40B4-BE49-F238E27FC236}">
                <a16:creationId xmlns:a16="http://schemas.microsoft.com/office/drawing/2014/main" id="{729CC933-FA3D-D340-EAEB-CC2F92D0F89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6151" y="1820893"/>
            <a:ext cx="2966846" cy="3147848"/>
          </a:xfrm>
          <a:prstGeom prst="rect">
            <a:avLst/>
          </a:prstGeom>
        </p:spPr>
      </p:pic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B9EF0917-19BD-4F33-5D03-8903164DA04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51959918"/>
              </p:ext>
            </p:extLst>
          </p:nvPr>
        </p:nvGraphicFramePr>
        <p:xfrm>
          <a:off x="1060142" y="5360309"/>
          <a:ext cx="10226925" cy="457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408975">
                  <a:extLst>
                    <a:ext uri="{9D8B030D-6E8A-4147-A177-3AD203B41FA5}">
                      <a16:colId xmlns:a16="http://schemas.microsoft.com/office/drawing/2014/main" val="288293579"/>
                    </a:ext>
                  </a:extLst>
                </a:gridCol>
                <a:gridCol w="3408975">
                  <a:extLst>
                    <a:ext uri="{9D8B030D-6E8A-4147-A177-3AD203B41FA5}">
                      <a16:colId xmlns:a16="http://schemas.microsoft.com/office/drawing/2014/main" val="3592523975"/>
                    </a:ext>
                  </a:extLst>
                </a:gridCol>
                <a:gridCol w="3408975">
                  <a:extLst>
                    <a:ext uri="{9D8B030D-6E8A-4147-A177-3AD203B41FA5}">
                      <a16:colId xmlns:a16="http://schemas.microsoft.com/office/drawing/2014/main" val="87851120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400">
                          <a:solidFill>
                            <a:schemeClr val="tx1"/>
                          </a:solidFill>
                          <a:latin typeface="Aptos Light" panose="020B0004020202020204" pitchFamily="34" charset="0"/>
                        </a:rPr>
                        <a:t>The Scientist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>
                          <a:solidFill>
                            <a:schemeClr val="tx1"/>
                          </a:solidFill>
                          <a:latin typeface="Aptos Light" panose="020B0004020202020204" pitchFamily="34" charset="0"/>
                        </a:rPr>
                        <a:t>The Statistician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>
                          <a:solidFill>
                            <a:schemeClr val="tx1"/>
                          </a:solidFill>
                          <a:latin typeface="Aptos Light" panose="020B0004020202020204" pitchFamily="34" charset="0"/>
                        </a:rPr>
                        <a:t>The Programmer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708113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987995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cartoon of a person wearing glasses&#10;&#10;Description automatically generated">
            <a:extLst>
              <a:ext uri="{FF2B5EF4-FFF2-40B4-BE49-F238E27FC236}">
                <a16:creationId xmlns:a16="http://schemas.microsoft.com/office/drawing/2014/main" id="{822C14D9-B283-E1C1-5384-F119D30FFD1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92" r="1191"/>
          <a:stretch/>
        </p:blipFill>
        <p:spPr>
          <a:xfrm>
            <a:off x="6606253" y="1013569"/>
            <a:ext cx="4620584" cy="5192366"/>
          </a:xfrm>
          <a:prstGeom prst="rect">
            <a:avLst/>
          </a:prstGeom>
        </p:spPr>
      </p:pic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1C6ED7CC-9693-2006-1353-D8601758B444}"/>
              </a:ext>
            </a:extLst>
          </p:cNvPr>
          <p:cNvSpPr/>
          <p:nvPr/>
        </p:nvSpPr>
        <p:spPr>
          <a:xfrm>
            <a:off x="305793" y="3501025"/>
            <a:ext cx="5561556" cy="2617940"/>
          </a:xfrm>
          <a:prstGeom prst="round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rgbClr val="000000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200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866C72F-900B-EB02-94CF-020314BE67DB}"/>
              </a:ext>
            </a:extLst>
          </p:cNvPr>
          <p:cNvSpPr txBox="1">
            <a:spLocks/>
          </p:cNvSpPr>
          <p:nvPr/>
        </p:nvSpPr>
        <p:spPr>
          <a:xfrm>
            <a:off x="643467" y="3789347"/>
            <a:ext cx="4454625" cy="1020648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>
            <a:lvl1pPr algn="l" defTabSz="914411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The </a:t>
            </a:r>
            <a:r>
              <a:rPr lang="en-US">
                <a:solidFill>
                  <a:srgbClr val="9D4595"/>
                </a:solidFill>
              </a:rPr>
              <a:t>Frustrated</a:t>
            </a:r>
            <a:r>
              <a:rPr lang="en-US"/>
              <a:t> Scientis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3E15B15E-8E30-AAE5-353B-9A2C5A66D1B9}"/>
              </a:ext>
            </a:extLst>
          </p:cNvPr>
          <p:cNvSpPr txBox="1">
            <a:spLocks/>
          </p:cNvSpPr>
          <p:nvPr/>
        </p:nvSpPr>
        <p:spPr>
          <a:xfrm>
            <a:off x="643467" y="4809995"/>
            <a:ext cx="4620584" cy="1243183"/>
          </a:xfrm>
          <a:prstGeom prst="rect">
            <a:avLst/>
          </a:prstGeom>
        </p:spPr>
        <p:txBody>
          <a:bodyPr vert="horz" lIns="91440" tIns="45720" rIns="91440" bIns="45720" spcCol="301752" rtlCol="0">
            <a:normAutofit/>
          </a:bodyPr>
          <a:lstStyle>
            <a:lvl1pPr marL="228604" indent="-228604" algn="l" defTabSz="914411" rtl="0" eaLnBrk="1" latinLnBrk="0" hangingPunct="1">
              <a:lnSpc>
                <a:spcPct val="100000"/>
              </a:lnSpc>
              <a:spcBef>
                <a:spcPts val="1200"/>
              </a:spcBef>
              <a:buFont typeface="Trebuchet MS" panose="020B0603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6" indent="-228604" algn="l" defTabSz="914411" rtl="0" eaLnBrk="1" latinLnBrk="0" hangingPunct="1">
              <a:lnSpc>
                <a:spcPct val="100000"/>
              </a:lnSpc>
              <a:spcBef>
                <a:spcPts val="400"/>
              </a:spcBef>
              <a:buFont typeface="Trebuchet MS" panose="020B0603020202020204" pitchFamily="34" charset="0"/>
              <a:buChar char="—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9" indent="-228604" algn="l" defTabSz="914411" rtl="0" eaLnBrk="1" latinLnBrk="0" hangingPunct="1">
              <a:lnSpc>
                <a:spcPct val="100000"/>
              </a:lnSpc>
              <a:spcBef>
                <a:spcPts val="400"/>
              </a:spcBef>
              <a:buFont typeface="Trebuchet MS" panose="020B0603020202020204" pitchFamily="34" charset="0"/>
              <a:buChar char="—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11" indent="-228604" algn="l" defTabSz="914411" rtl="0" eaLnBrk="1" latinLnBrk="0" hangingPunct="1">
              <a:lnSpc>
                <a:spcPct val="100000"/>
              </a:lnSpc>
              <a:spcBef>
                <a:spcPts val="400"/>
              </a:spcBef>
              <a:buFont typeface="Trebuchet MS" panose="020B0603020202020204" pitchFamily="34" charset="0"/>
              <a:buChar char="—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15" indent="-228604" algn="l" defTabSz="914411" rtl="0" eaLnBrk="1" latinLnBrk="0" hangingPunct="1">
              <a:lnSpc>
                <a:spcPct val="100000"/>
              </a:lnSpc>
              <a:spcBef>
                <a:spcPts val="400"/>
              </a:spcBef>
              <a:buFont typeface="Trebuchet MS" panose="020B0603020202020204" pitchFamily="34" charset="0"/>
              <a:buChar char="—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71617" indent="-228604" algn="l" defTabSz="914411" rtl="0" eaLnBrk="1" latinLnBrk="0" hangingPunct="1">
              <a:lnSpc>
                <a:spcPct val="100000"/>
              </a:lnSpc>
              <a:spcBef>
                <a:spcPts val="400"/>
              </a:spcBef>
              <a:buFont typeface="Trebuchet MS" panose="020B0603020202020204" pitchFamily="34" charset="0"/>
              <a:buChar char="—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21" indent="-228604" algn="l" defTabSz="914411" rtl="0" eaLnBrk="1" latinLnBrk="0" hangingPunct="1">
              <a:lnSpc>
                <a:spcPct val="100000"/>
              </a:lnSpc>
              <a:spcBef>
                <a:spcPts val="400"/>
              </a:spcBef>
              <a:buFont typeface="Trebuchet MS" panose="020B0603020202020204" pitchFamily="34" charset="0"/>
              <a:buChar char="—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23" indent="-228604" algn="l" defTabSz="914411" rtl="0" eaLnBrk="1" latinLnBrk="0" hangingPunct="1">
              <a:lnSpc>
                <a:spcPct val="100000"/>
              </a:lnSpc>
              <a:spcBef>
                <a:spcPts val="400"/>
              </a:spcBef>
              <a:buFont typeface="Trebuchet MS" panose="020B0603020202020204" pitchFamily="34" charset="0"/>
              <a:buChar char="—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57427" indent="-228604" algn="l" defTabSz="914411" rtl="0" eaLnBrk="1" latinLnBrk="0" hangingPunct="1">
              <a:lnSpc>
                <a:spcPct val="100000"/>
              </a:lnSpc>
              <a:spcBef>
                <a:spcPts val="400"/>
              </a:spcBef>
              <a:buFont typeface="Trebuchet MS" panose="020B0603020202020204" pitchFamily="34" charset="0"/>
              <a:buChar char="—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Trebuchet MS" panose="020B0603020202020204" pitchFamily="34" charset="0"/>
              <a:buNone/>
            </a:pPr>
            <a:r>
              <a:rPr lang="en-US" i="1"/>
              <a:t>"I need to be able to follow where the data leads me, not where the dashboard allows me to go."</a:t>
            </a:r>
          </a:p>
        </p:txBody>
      </p:sp>
    </p:spTree>
    <p:extLst>
      <p:ext uri="{BB962C8B-B14F-4D97-AF65-F5344CB8AC3E}">
        <p14:creationId xmlns:p14="http://schemas.microsoft.com/office/powerpoint/2010/main" val="35002353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erson wearing glasses and a suit&#10;&#10;Description automatically generated">
            <a:extLst>
              <a:ext uri="{FF2B5EF4-FFF2-40B4-BE49-F238E27FC236}">
                <a16:creationId xmlns:a16="http://schemas.microsoft.com/office/drawing/2014/main" id="{E21741EA-A804-1787-4377-7D3ED74A5F4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07"/>
          <a:stretch/>
        </p:blipFill>
        <p:spPr>
          <a:xfrm>
            <a:off x="6433333" y="734552"/>
            <a:ext cx="5115199" cy="5388895"/>
          </a:xfrm>
          <a:prstGeom prst="rect">
            <a:avLst/>
          </a:prstGeom>
        </p:spPr>
      </p:pic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48FEC518-CC52-7F59-87D9-392EF4768AAC}"/>
              </a:ext>
            </a:extLst>
          </p:cNvPr>
          <p:cNvSpPr/>
          <p:nvPr/>
        </p:nvSpPr>
        <p:spPr>
          <a:xfrm>
            <a:off x="350729" y="3607496"/>
            <a:ext cx="5561556" cy="2617940"/>
          </a:xfrm>
          <a:prstGeom prst="round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rgbClr val="000000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200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5BBBBDE3-3200-2EA5-0CA6-9002AC1113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3467" y="4027789"/>
            <a:ext cx="4620584" cy="1095804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z="3600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The </a:t>
            </a:r>
            <a:r>
              <a:rPr lang="en-US" sz="3600" kern="1200">
                <a:solidFill>
                  <a:srgbClr val="9D4595"/>
                </a:solidFill>
                <a:latin typeface="+mj-lt"/>
                <a:ea typeface="+mj-ea"/>
                <a:cs typeface="+mj-cs"/>
              </a:rPr>
              <a:t>Isolated</a:t>
            </a:r>
            <a:r>
              <a:rPr lang="en-US" sz="3600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 Statistician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E019BD0-C981-B066-1778-748384A6DD8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3467" y="5129632"/>
            <a:ext cx="4620584" cy="775494"/>
          </a:xfrm>
        </p:spPr>
        <p:txBody>
          <a:bodyPr vert="horz" lIns="91440" tIns="45720" rIns="91440" bIns="45720" rtlCol="0">
            <a:normAutofit/>
          </a:bodyPr>
          <a:lstStyle/>
          <a:p>
            <a:pPr marL="0" indent="0">
              <a:buNone/>
            </a:pPr>
            <a:r>
              <a:rPr lang="en-US" i="1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"My models are powerful, but no one else can use them without my help."</a:t>
            </a:r>
          </a:p>
        </p:txBody>
      </p:sp>
    </p:spTree>
    <p:extLst>
      <p:ext uri="{BB962C8B-B14F-4D97-AF65-F5344CB8AC3E}">
        <p14:creationId xmlns:p14="http://schemas.microsoft.com/office/powerpoint/2010/main" val="1809873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cartoon of a person with long hair and glasses&#10;&#10;Description automatically generated">
            <a:extLst>
              <a:ext uri="{FF2B5EF4-FFF2-40B4-BE49-F238E27FC236}">
                <a16:creationId xmlns:a16="http://schemas.microsoft.com/office/drawing/2014/main" id="{55448902-332D-CC11-BB71-DFB8C7429F5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17" r="3265"/>
          <a:stretch/>
        </p:blipFill>
        <p:spPr>
          <a:xfrm>
            <a:off x="6606251" y="678758"/>
            <a:ext cx="4785783" cy="5377986"/>
          </a:xfrm>
          <a:prstGeom prst="rect">
            <a:avLst/>
          </a:prstGeom>
        </p:spPr>
      </p:pic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18467C01-D9AB-4E3D-ECA1-626864E56698}"/>
              </a:ext>
            </a:extLst>
          </p:cNvPr>
          <p:cNvSpPr/>
          <p:nvPr/>
        </p:nvSpPr>
        <p:spPr>
          <a:xfrm>
            <a:off x="350729" y="3363238"/>
            <a:ext cx="5561556" cy="2862198"/>
          </a:xfrm>
          <a:prstGeom prst="round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rgbClr val="000000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200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CF5F9C7-F705-F8D5-95EA-FD29D3AAD7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3468" y="3613758"/>
            <a:ext cx="4557182" cy="910617"/>
          </a:xfrm>
        </p:spPr>
        <p:txBody>
          <a:bodyPr vert="horz" lIns="91440" tIns="45720" rIns="91440" bIns="45720" rtlCol="0" anchor="b">
            <a:normAutofit fontScale="90000"/>
          </a:bodyPr>
          <a:lstStyle/>
          <a:p>
            <a:r>
              <a:rPr lang="en-US"/>
              <a:t>The </a:t>
            </a:r>
            <a:r>
              <a:rPr lang="en-US">
                <a:solidFill>
                  <a:srgbClr val="9D4595"/>
                </a:solidFill>
              </a:rPr>
              <a:t>Overwhelmed</a:t>
            </a:r>
            <a:r>
              <a:rPr lang="en-US"/>
              <a:t> Programmer</a:t>
            </a:r>
            <a:endParaRPr lang="en-US" kern="120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F0C9DD32-D36C-6462-EE2F-3BDF1BC91A8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3466" y="4724400"/>
            <a:ext cx="4785783" cy="1328778"/>
          </a:xfrm>
        </p:spPr>
        <p:txBody>
          <a:bodyPr vert="horz" lIns="91440" tIns="45720" rIns="91440" bIns="45720" rtlCol="0">
            <a:normAutofit fontScale="85000" lnSpcReduction="20000"/>
          </a:bodyPr>
          <a:lstStyle/>
          <a:p>
            <a:pPr marL="0" indent="0">
              <a:buNone/>
            </a:pPr>
            <a:r>
              <a:rPr lang="en-US" sz="2400" i="1"/>
              <a:t>"Every study needs a custom dashboard, and each clinician wants data transformed differently. I'm drowning in code maintenance and conflicting requests!"</a:t>
            </a:r>
          </a:p>
        </p:txBody>
      </p:sp>
    </p:spTree>
    <p:extLst>
      <p:ext uri="{BB962C8B-B14F-4D97-AF65-F5344CB8AC3E}">
        <p14:creationId xmlns:p14="http://schemas.microsoft.com/office/powerpoint/2010/main" val="2394735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2FE8A9-69A4-BED1-60A8-A85BECF9D1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/>
              <a:t>Friday Afternoon</a:t>
            </a:r>
          </a:p>
        </p:txBody>
      </p:sp>
      <p:pic>
        <p:nvPicPr>
          <p:cNvPr id="19" name="Content Placeholder 18" descr="Open envelope with solid fill">
            <a:extLst>
              <a:ext uri="{FF2B5EF4-FFF2-40B4-BE49-F238E27FC236}">
                <a16:creationId xmlns:a16="http://schemas.microsoft.com/office/drawing/2014/main" id="{302930CA-345D-754B-00C1-AEB2CC2EB2E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38201" y="1698957"/>
            <a:ext cx="3460086" cy="3460086"/>
          </a:xfr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58CC7C6-B734-4838-A429-22ADE62EFA87}"/>
              </a:ext>
            </a:extLst>
          </p:cNvPr>
          <p:cNvSpPr txBox="1"/>
          <p:nvPr/>
        </p:nvSpPr>
        <p:spPr>
          <a:xfrm>
            <a:off x="5557420" y="1091953"/>
            <a:ext cx="5796379" cy="440120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2000">
                <a:latin typeface="Courier New" panose="02070309020205020404" pitchFamily="49" charset="0"/>
                <a:cs typeface="Courier New" panose="02070309020205020404" pitchFamily="49" charset="0"/>
              </a:rPr>
              <a:t>URGENT!! </a:t>
            </a:r>
          </a:p>
          <a:p>
            <a:endParaRPr lang="en-US" sz="200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2000">
                <a:latin typeface="Courier New" panose="02070309020205020404" pitchFamily="49" charset="0"/>
                <a:cs typeface="Courier New" panose="02070309020205020404" pitchFamily="49" charset="0"/>
              </a:rPr>
              <a:t>Outputs from your app were used to answer HA questions and an error was found. Audit Monday! Reanalyze ALL data by Sunday 8 PM</a:t>
            </a:r>
          </a:p>
          <a:p>
            <a:endParaRPr lang="en-US" sz="200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2000">
                <a:latin typeface="Courier New" panose="02070309020205020404" pitchFamily="49" charset="0"/>
                <a:cs typeface="Courier New" panose="02070309020205020404" pitchFamily="49" charset="0"/>
              </a:rPr>
              <a:t>Provide full reproducibility report. Explain ALL discrepancies</a:t>
            </a:r>
          </a:p>
          <a:p>
            <a:endParaRPr lang="en-US" sz="200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2000">
                <a:latin typeface="Courier New" panose="02070309020205020404" pitchFamily="49" charset="0"/>
                <a:cs typeface="Courier New" panose="02070309020205020404" pitchFamily="49" charset="0"/>
              </a:rPr>
              <a:t>Work weekend required. Confirm receipt ASAP. </a:t>
            </a:r>
          </a:p>
          <a:p>
            <a:endParaRPr lang="en-US" sz="2000" i="1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2000" i="1">
                <a:latin typeface="Courier New" panose="02070309020205020404" pitchFamily="49" charset="0"/>
                <a:cs typeface="Courier New" panose="02070309020205020404" pitchFamily="49" charset="0"/>
              </a:rPr>
              <a:t>Your bosses </a:t>
            </a:r>
            <a:r>
              <a:rPr lang="en-US" sz="2000" i="1" err="1">
                <a:latin typeface="Courier New" panose="02070309020205020404" pitchFamily="49" charset="0"/>
                <a:cs typeface="Courier New" panose="02070309020205020404" pitchFamily="49" charset="0"/>
              </a:rPr>
              <a:t>bosses</a:t>
            </a:r>
            <a:r>
              <a:rPr lang="en-US" sz="2000" i="1">
                <a:latin typeface="Courier New" panose="02070309020205020404" pitchFamily="49" charset="0"/>
                <a:cs typeface="Courier New" panose="02070309020205020404" pitchFamily="49" charset="0"/>
              </a:rPr>
              <a:t> boss</a:t>
            </a:r>
          </a:p>
        </p:txBody>
      </p:sp>
    </p:spTree>
    <p:extLst>
      <p:ext uri="{BB962C8B-B14F-4D97-AF65-F5344CB8AC3E}">
        <p14:creationId xmlns:p14="http://schemas.microsoft.com/office/powerpoint/2010/main" val="2067767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build="p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white rectangle with purple edges&#10;&#10;Description automatically generated">
            <a:extLst>
              <a:ext uri="{FF2B5EF4-FFF2-40B4-BE49-F238E27FC236}">
                <a16:creationId xmlns:a16="http://schemas.microsoft.com/office/drawing/2014/main" id="{0ACA4EBF-54B1-1DFF-ED78-805258CDB6A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9747" y="161497"/>
            <a:ext cx="11776230" cy="6115015"/>
          </a:xfrm>
          <a:prstGeom prst="rect">
            <a:avLst/>
          </a:prstGeom>
        </p:spPr>
      </p:pic>
      <p:pic>
        <p:nvPicPr>
          <p:cNvPr id="6" name="Content Placeholder 5" descr="A cartoon of a person with long hair and glasses&#10;&#10;Description automatically generated">
            <a:extLst>
              <a:ext uri="{FF2B5EF4-FFF2-40B4-BE49-F238E27FC236}">
                <a16:creationId xmlns:a16="http://schemas.microsoft.com/office/drawing/2014/main" id="{91C14EA8-6B2D-AE6B-5228-A617A03D6D1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17490" y="3247646"/>
            <a:ext cx="2505075" cy="2656899"/>
          </a:xfrm>
        </p:spPr>
      </p:pic>
      <p:pic>
        <p:nvPicPr>
          <p:cNvPr id="8" name="Picture 7" descr="A cartoon of a person wearing glasses&#10;&#10;Description automatically generated">
            <a:extLst>
              <a:ext uri="{FF2B5EF4-FFF2-40B4-BE49-F238E27FC236}">
                <a16:creationId xmlns:a16="http://schemas.microsoft.com/office/drawing/2014/main" id="{F1E40FDE-AC3B-7FC3-CC1A-5511245085A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6479" y="3161094"/>
            <a:ext cx="2614593" cy="2773051"/>
          </a:xfrm>
          <a:prstGeom prst="rect">
            <a:avLst/>
          </a:prstGeom>
        </p:spPr>
      </p:pic>
      <p:pic>
        <p:nvPicPr>
          <p:cNvPr id="10" name="Picture 9" descr="A cartoon of a person with glasses&#10;&#10;Description automatically generated">
            <a:extLst>
              <a:ext uri="{FF2B5EF4-FFF2-40B4-BE49-F238E27FC236}">
                <a16:creationId xmlns:a16="http://schemas.microsoft.com/office/drawing/2014/main" id="{59EEA0C1-9415-C876-E676-827A014CFD6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199" y="3247649"/>
            <a:ext cx="2505075" cy="2656899"/>
          </a:xfrm>
          <a:prstGeom prst="rect">
            <a:avLst/>
          </a:prstGeom>
        </p:spPr>
      </p:pic>
      <p:pic>
        <p:nvPicPr>
          <p:cNvPr id="5" name="Picture 4" descr="A cartoon of a person with long hair and glasses&#10;&#10;Description automatically generated">
            <a:extLst>
              <a:ext uri="{FF2B5EF4-FFF2-40B4-BE49-F238E27FC236}">
                <a16:creationId xmlns:a16="http://schemas.microsoft.com/office/drawing/2014/main" id="{037BFBB3-4E64-F9A9-4796-2E4E8E2730B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17489" y="3266301"/>
            <a:ext cx="2505076" cy="2656899"/>
          </a:xfrm>
          <a:prstGeom prst="rect">
            <a:avLst/>
          </a:prstGeom>
        </p:spPr>
      </p:pic>
      <p:pic>
        <p:nvPicPr>
          <p:cNvPr id="4" name="Picture 3" descr="A person wearing glasses and smiling&#10;&#10;Description automatically generated">
            <a:extLst>
              <a:ext uri="{FF2B5EF4-FFF2-40B4-BE49-F238E27FC236}">
                <a16:creationId xmlns:a16="http://schemas.microsoft.com/office/drawing/2014/main" id="{34465335-FED8-D505-8CC1-DFB3B5CCEBC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65631" y="3161094"/>
            <a:ext cx="2676291" cy="2838490"/>
          </a:xfrm>
          <a:prstGeom prst="rect">
            <a:avLst/>
          </a:prstGeom>
        </p:spPr>
      </p:pic>
      <p:pic>
        <p:nvPicPr>
          <p:cNvPr id="3" name="Picture 2" descr="A cartoon of a person wearing glasses&#10;&#10;Description automatically generated">
            <a:extLst>
              <a:ext uri="{FF2B5EF4-FFF2-40B4-BE49-F238E27FC236}">
                <a16:creationId xmlns:a16="http://schemas.microsoft.com/office/drawing/2014/main" id="{ED9E19AA-EBB4-93ED-06A6-8049302C19B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1" y="3266304"/>
            <a:ext cx="2505073" cy="265689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22FE8A9-69A4-BED1-60A8-A85BECF9D1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1682" y="506880"/>
            <a:ext cx="11460480" cy="914400"/>
          </a:xfrm>
        </p:spPr>
        <p:txBody>
          <a:bodyPr/>
          <a:lstStyle/>
          <a:p>
            <a:r>
              <a:rPr lang="en-US"/>
              <a:t>Friday Afternoon</a:t>
            </a:r>
            <a:endParaRPr lang="en-US">
              <a:solidFill>
                <a:srgbClr val="FF0000"/>
              </a:solidFill>
            </a:endParaRPr>
          </a:p>
        </p:txBody>
      </p:sp>
      <p:sp>
        <p:nvSpPr>
          <p:cNvPr id="16" name="Thought Bubble: Cloud 15">
            <a:extLst>
              <a:ext uri="{FF2B5EF4-FFF2-40B4-BE49-F238E27FC236}">
                <a16:creationId xmlns:a16="http://schemas.microsoft.com/office/drawing/2014/main" id="{935265A6-D206-E339-0697-7DF7CBF27282}"/>
              </a:ext>
            </a:extLst>
          </p:cNvPr>
          <p:cNvSpPr/>
          <p:nvPr/>
        </p:nvSpPr>
        <p:spPr>
          <a:xfrm>
            <a:off x="4720465" y="1447347"/>
            <a:ext cx="3223878" cy="2039926"/>
          </a:xfrm>
          <a:prstGeom prst="cloudCallou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solidFill>
                  <a:schemeClr val="tx1"/>
                </a:solidFill>
              </a:rPr>
              <a:t>How can I prove my calculations are correct?</a:t>
            </a:r>
          </a:p>
        </p:txBody>
      </p:sp>
      <p:sp>
        <p:nvSpPr>
          <p:cNvPr id="17" name="Thought Bubble: Cloud 16">
            <a:extLst>
              <a:ext uri="{FF2B5EF4-FFF2-40B4-BE49-F238E27FC236}">
                <a16:creationId xmlns:a16="http://schemas.microsoft.com/office/drawing/2014/main" id="{F241307C-5BB1-1F20-72B8-6C9AB6E1B680}"/>
              </a:ext>
            </a:extLst>
          </p:cNvPr>
          <p:cNvSpPr/>
          <p:nvPr/>
        </p:nvSpPr>
        <p:spPr>
          <a:xfrm>
            <a:off x="8210626" y="1383823"/>
            <a:ext cx="3223878" cy="2064302"/>
          </a:xfrm>
          <a:prstGeom prst="cloudCallou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solidFill>
                  <a:schemeClr val="tx1"/>
                </a:solidFill>
              </a:rPr>
              <a:t>How am I going to extract all the code from these dashboards?</a:t>
            </a:r>
          </a:p>
        </p:txBody>
      </p:sp>
      <p:sp>
        <p:nvSpPr>
          <p:cNvPr id="15" name="Thought Bubble: Cloud 14">
            <a:extLst>
              <a:ext uri="{FF2B5EF4-FFF2-40B4-BE49-F238E27FC236}">
                <a16:creationId xmlns:a16="http://schemas.microsoft.com/office/drawing/2014/main" id="{08DA426C-C9A9-9220-F349-6FF94E86CF9D}"/>
              </a:ext>
            </a:extLst>
          </p:cNvPr>
          <p:cNvSpPr/>
          <p:nvPr/>
        </p:nvSpPr>
        <p:spPr>
          <a:xfrm>
            <a:off x="1320272" y="1490209"/>
            <a:ext cx="3133910" cy="1957916"/>
          </a:xfrm>
          <a:prstGeom prst="cloudCallou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solidFill>
                  <a:schemeClr val="tx1"/>
                </a:solidFill>
              </a:rPr>
              <a:t>What does reproducible even mean?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DE23970-3AF2-B2E5-675F-4DA042C09D1F}"/>
              </a:ext>
            </a:extLst>
          </p:cNvPr>
          <p:cNvSpPr txBox="1"/>
          <p:nvPr/>
        </p:nvSpPr>
        <p:spPr>
          <a:xfrm>
            <a:off x="4013462" y="290729"/>
            <a:ext cx="2547135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>
                <a:solidFill>
                  <a:srgbClr val="FF0000"/>
                </a:solidFill>
              </a:rPr>
              <a:t>PANIC !!</a:t>
            </a:r>
            <a:endParaRPr lang="en-US" sz="4400" b="1"/>
          </a:p>
        </p:txBody>
      </p:sp>
    </p:spTree>
    <p:extLst>
      <p:ext uri="{BB962C8B-B14F-4D97-AF65-F5344CB8AC3E}">
        <p14:creationId xmlns:p14="http://schemas.microsoft.com/office/powerpoint/2010/main" val="2912408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" presetClass="exit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22" dur="500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2" presetClass="exit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26" dur="5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5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2" presetClass="exit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30" dur="5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" dur="5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7" grpId="0" animBg="1"/>
      <p:bldP spid="15" grpId="0" animBg="1"/>
      <p:bldP spid="7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FCBBF1-453D-E3A5-9A0C-B6BCB3DF83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760" y="365760"/>
            <a:ext cx="11460480" cy="914400"/>
          </a:xfrm>
        </p:spPr>
        <p:txBody>
          <a:bodyPr anchor="t">
            <a:normAutofit/>
          </a:bodyPr>
          <a:lstStyle/>
          <a:p>
            <a:r>
              <a:rPr lang="en-US"/>
              <a:t>There's a Better Way: </a:t>
            </a:r>
            <a:r>
              <a:rPr lang="en-US">
                <a:solidFill>
                  <a:srgbClr val="BF6DB7"/>
                </a:solidFill>
              </a:rPr>
              <a:t>Meet block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BBF5ED1-BA5C-174D-1072-1C2A51EC4BF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81169" y="1138118"/>
            <a:ext cx="4481449" cy="484632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8575">
            <a:solidFill>
              <a:srgbClr val="E4BEE0"/>
            </a:solidFill>
          </a:ln>
        </p:spPr>
        <p:txBody>
          <a:bodyPr>
            <a:normAutofit fontScale="92500" lnSpcReduction="10000"/>
          </a:bodyPr>
          <a:lstStyle/>
          <a:p>
            <a:r>
              <a:rPr lang="en-US" sz="2400"/>
              <a:t>{blockr} is an open-source R package designed to streamline the creation of Enterprise-grade data analysis pipelines and interactive dashboards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400"/>
              <a:t>Key features: </a:t>
            </a:r>
          </a:p>
          <a:p>
            <a:pPr lvl="1"/>
            <a:r>
              <a:rPr lang="en-US" sz="2400"/>
              <a:t>Visual, block-based interface</a:t>
            </a:r>
          </a:p>
          <a:p>
            <a:pPr lvl="1"/>
            <a:r>
              <a:rPr lang="en-US" sz="2400"/>
              <a:t>Modular and reusable components</a:t>
            </a:r>
          </a:p>
          <a:p>
            <a:pPr lvl="1"/>
            <a:r>
              <a:rPr lang="en-US" sz="2400"/>
              <a:t>Built-in reproducibility</a:t>
            </a:r>
          </a:p>
          <a:p>
            <a:pPr lvl="1"/>
            <a:r>
              <a:rPr lang="en-US" sz="2400"/>
              <a:t>Extensible framework</a:t>
            </a:r>
          </a:p>
        </p:txBody>
      </p:sp>
      <p:pic>
        <p:nvPicPr>
          <p:cNvPr id="1026" name="Picture 2" descr="User Interface Overview">
            <a:extLst>
              <a:ext uri="{FF2B5EF4-FFF2-40B4-BE49-F238E27FC236}">
                <a16:creationId xmlns:a16="http://schemas.microsoft.com/office/drawing/2014/main" id="{84ADF4C1-C271-8E69-D5FA-27CDD72FDC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078027" y="1057677"/>
            <a:ext cx="6923576" cy="4742646"/>
          </a:xfrm>
          <a:prstGeom prst="rect">
            <a:avLst/>
          </a:prstGeom>
          <a:solidFill>
            <a:srgbClr val="FFFFFF"/>
          </a:solidFill>
        </p:spPr>
      </p:pic>
    </p:spTree>
    <p:extLst>
      <p:ext uri="{BB962C8B-B14F-4D97-AF65-F5344CB8AC3E}">
        <p14:creationId xmlns:p14="http://schemas.microsoft.com/office/powerpoint/2010/main" val="2884535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TEXTBOX" val="Mallika Edits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Y_6UawVS63t7_Mq81qa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25uMCcx42fzPhbl4_5Hw"/>
</p:tagLst>
</file>

<file path=ppt/theme/theme1.xml><?xml version="1.0" encoding="utf-8"?>
<a:theme xmlns:a="http://schemas.openxmlformats.org/drawingml/2006/main" name="Bristol Myers Squibb">
  <a:themeElements>
    <a:clrScheme name="Bristol Myers Squibb Colors">
      <a:dk1>
        <a:srgbClr val="595454"/>
      </a:dk1>
      <a:lt1>
        <a:srgbClr val="FFFFFF"/>
      </a:lt1>
      <a:dk2>
        <a:srgbClr val="595454"/>
      </a:dk2>
      <a:lt2>
        <a:srgbClr val="EEE7E7"/>
      </a:lt2>
      <a:accent1>
        <a:srgbClr val="595454"/>
      </a:accent1>
      <a:accent2>
        <a:srgbClr val="FFD186"/>
      </a:accent2>
      <a:accent3>
        <a:srgbClr val="59FFB9"/>
      </a:accent3>
      <a:accent4>
        <a:srgbClr val="A69F9F"/>
      </a:accent4>
      <a:accent5>
        <a:srgbClr val="33D6F1"/>
      </a:accent5>
      <a:accent6>
        <a:srgbClr val="FDA97D"/>
      </a:accent6>
      <a:hlink>
        <a:srgbClr val="595454"/>
      </a:hlink>
      <a:folHlink>
        <a:srgbClr val="595454"/>
      </a:folHlink>
    </a:clrScheme>
    <a:fontScheme name="Bristol Myers Squibb Fonts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Bristol Myers Squibb Effects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127000" dist="63500" dir="2700000" algn="br" rotWithShape="0">
              <a:srgbClr val="000000">
                <a:alpha val="2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ln>
          <a:noFill/>
        </a:ln>
      </a:spPr>
      <a:bodyPr/>
      <a:lstStyle>
        <a:defPPr algn="ctr">
          <a:lnSpc>
            <a:spcPct val="100000"/>
          </a:lnSpc>
          <a:defRPr sz="2000"/>
        </a:defPPr>
      </a:lstStyle>
      <a:style>
        <a:lnRef idx="0">
          <a:schemeClr val="accent1"/>
        </a:lnRef>
        <a:fillRef idx="1">
          <a:schemeClr val="accent1"/>
        </a:fillRef>
        <a:effectRef idx="0">
          <a:srgbClr val="000000"/>
        </a:effectRef>
        <a:fontRef idx="minor">
          <a:schemeClr val="lt1"/>
        </a:fontRef>
      </a:style>
    </a:spDef>
    <a:lnDef>
      <a:spPr>
        <a:ln w="12700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rgbClr val="000000"/>
        </a:effectRef>
        <a:fontRef idx="minor">
          <a:schemeClr val="lt1"/>
        </a:fontRef>
      </a:style>
    </a:lnDef>
    <a:txDef>
      <a:spPr>
        <a:noFill/>
      </a:spPr>
      <a:bodyPr wrap="square" lIns="0" tIns="0" rIns="0" bIns="0" rtlCol="0">
        <a:noAutofit/>
      </a:bodyPr>
      <a:lstStyle>
        <a:defPPr marL="228600" indent="-228600">
          <a:lnSpc>
            <a:spcPct val="100000"/>
          </a:lnSpc>
          <a:spcBef>
            <a:spcPts val="1200"/>
          </a:spcBef>
          <a:buSzPct val="100000"/>
          <a:buFont typeface="Trebuchet MS"/>
          <a:buChar char="•"/>
          <a:defRPr sz="2000"/>
        </a:defPPr>
      </a:lstStyle>
    </a:txDef>
  </a:objectDefaults>
  <a:extraClrSchemeLst/>
  <a:custClrLst>
    <a:custClr name="Purple">
      <a:srgbClr val="BE2BBB"/>
    </a:custClr>
    <a:custClr name="Dark Gray">
      <a:srgbClr val="595454"/>
    </a:custClr>
    <a:custClr name="Gray">
      <a:srgbClr val="A69F9F"/>
    </a:custClr>
    <a:custClr name="Light Gray">
      <a:srgbClr val="EEE7E7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Amber 2">
      <a:srgbClr val="FFD186"/>
    </a:custClr>
    <a:custClr name="Amber 1">
      <a:srgbClr val="FFECCD"/>
    </a:custClr>
    <a:custClr name="Peach 2">
      <a:srgbClr val="FDA97D"/>
    </a:custClr>
    <a:custClr name="Peach 1">
      <a:srgbClr val="FEDCCA"/>
    </a:custClr>
    <a:custClr name="Sienna 2">
      <a:srgbClr val="CB7C78"/>
    </a:custClr>
    <a:custClr name="Sienna 1">
      <a:srgbClr val="DAC5C5"/>
    </a:custClr>
    <a:custClr name="Mint 2">
      <a:srgbClr val="59FFB9"/>
    </a:custClr>
    <a:custClr name="Mint 1">
      <a:srgbClr val="C5FFE6"/>
    </a:custClr>
    <a:custClr name="Aqua 2">
      <a:srgbClr val="33D6F1"/>
    </a:custClr>
    <a:custClr name="Aqua 1">
      <a:srgbClr val="C0F2FB"/>
    </a:custClr>
  </a:custClrLst>
  <a:extLst>
    <a:ext uri="{05A4C25C-085E-4340-85A3-A5531E510DB2}">
      <thm15:themeFamily xmlns:thm15="http://schemas.microsoft.com/office/thememl/2012/main" name="Presentation3" id="{0CF43D04-4E54-4175-9148-8BABDDF0BBDE}" vid="{55CC68BF-12D7-4C14-B321-D6BE3D1AE6E0}"/>
    </a:ext>
  </a:extLst>
</a:theme>
</file>

<file path=ppt/theme/theme2.xml><?xml version="1.0" encoding="utf-8"?>
<a:theme xmlns:a="http://schemas.openxmlformats.org/drawingml/2006/main" name="3_Bristol Myers Squibb">
  <a:themeElements>
    <a:clrScheme name="Bristol Myers Squibb Colors">
      <a:dk1>
        <a:srgbClr val="595454"/>
      </a:dk1>
      <a:lt1>
        <a:srgbClr val="FFFFFF"/>
      </a:lt1>
      <a:dk2>
        <a:srgbClr val="595454"/>
      </a:dk2>
      <a:lt2>
        <a:srgbClr val="EEE7E7"/>
      </a:lt2>
      <a:accent1>
        <a:srgbClr val="595454"/>
      </a:accent1>
      <a:accent2>
        <a:srgbClr val="FFD186"/>
      </a:accent2>
      <a:accent3>
        <a:srgbClr val="59FFB9"/>
      </a:accent3>
      <a:accent4>
        <a:srgbClr val="A69F9F"/>
      </a:accent4>
      <a:accent5>
        <a:srgbClr val="33D6F1"/>
      </a:accent5>
      <a:accent6>
        <a:srgbClr val="FDA97D"/>
      </a:accent6>
      <a:hlink>
        <a:srgbClr val="595454"/>
      </a:hlink>
      <a:folHlink>
        <a:srgbClr val="595454"/>
      </a:folHlink>
    </a:clrScheme>
    <a:fontScheme name="Bristol Myers Squibb Fonts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Bristol Myers Squibb Effects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127000" dist="63500" dir="2700000" algn="br" rotWithShape="0">
              <a:srgbClr val="000000">
                <a:alpha val="2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ln>
          <a:noFill/>
        </a:ln>
      </a:spPr>
      <a:bodyPr/>
      <a:lstStyle>
        <a:defPPr algn="ctr">
          <a:lnSpc>
            <a:spcPct val="100000"/>
          </a:lnSpc>
          <a:defRPr sz="2000"/>
        </a:defPPr>
      </a:lstStyle>
      <a:style>
        <a:lnRef idx="0">
          <a:schemeClr val="accent1"/>
        </a:lnRef>
        <a:fillRef idx="1">
          <a:schemeClr val="accent1"/>
        </a:fillRef>
        <a:effectRef idx="0">
          <a:srgbClr val="000000"/>
        </a:effectRef>
        <a:fontRef idx="minor">
          <a:schemeClr val="lt1"/>
        </a:fontRef>
      </a:style>
    </a:spDef>
    <a:lnDef>
      <a:spPr>
        <a:ln w="12700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rgbClr val="000000"/>
        </a:effectRef>
        <a:fontRef idx="minor">
          <a:schemeClr val="lt1"/>
        </a:fontRef>
      </a:style>
    </a:lnDef>
    <a:txDef>
      <a:spPr>
        <a:noFill/>
      </a:spPr>
      <a:bodyPr wrap="square" lIns="0" tIns="0" rIns="0" bIns="0" rtlCol="0">
        <a:noAutofit/>
      </a:bodyPr>
      <a:lstStyle>
        <a:defPPr marL="228600" indent="-228600">
          <a:lnSpc>
            <a:spcPct val="100000"/>
          </a:lnSpc>
          <a:spcBef>
            <a:spcPts val="1200"/>
          </a:spcBef>
          <a:buSzPct val="100000"/>
          <a:buFont typeface="Trebuchet MS"/>
          <a:buChar char="•"/>
          <a:defRPr sz="2000"/>
        </a:defPPr>
      </a:lstStyle>
    </a:txDef>
  </a:objectDefaults>
  <a:extraClrSchemeLst/>
  <a:custClrLst>
    <a:custClr name="Purple">
      <a:srgbClr val="BE2BBB"/>
    </a:custClr>
    <a:custClr name="Dark Gray">
      <a:srgbClr val="595454"/>
    </a:custClr>
    <a:custClr name="Gray">
      <a:srgbClr val="A69F9F"/>
    </a:custClr>
    <a:custClr name="Light Gray">
      <a:srgbClr val="EEE7E7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Amber 2">
      <a:srgbClr val="FFD186"/>
    </a:custClr>
    <a:custClr name="Amber 1">
      <a:srgbClr val="FFECCD"/>
    </a:custClr>
    <a:custClr name="Peach 2">
      <a:srgbClr val="FDA97D"/>
    </a:custClr>
    <a:custClr name="Peach 1">
      <a:srgbClr val="FEDCCA"/>
    </a:custClr>
    <a:custClr name="Sienna 2">
      <a:srgbClr val="CB7C78"/>
    </a:custClr>
    <a:custClr name="Sienna 1">
      <a:srgbClr val="DAC5C5"/>
    </a:custClr>
    <a:custClr name="Mint 2">
      <a:srgbClr val="59FFB9"/>
    </a:custClr>
    <a:custClr name="Mint 1">
      <a:srgbClr val="C5FFE6"/>
    </a:custClr>
    <a:custClr name="Aqua 2">
      <a:srgbClr val="33D6F1"/>
    </a:custClr>
    <a:custClr name="Aqua 1">
      <a:srgbClr val="C0F2FB"/>
    </a:custClr>
  </a:custClrLst>
  <a:extLst>
    <a:ext uri="{05A4C25C-085E-4340-85A3-A5531E510DB2}">
      <thm15:themeFamily xmlns:thm15="http://schemas.microsoft.com/office/thememl/2012/main" name="BMS PowerPoint Template 28Feb2020" id="{0895FA39-87D9-4FFB-AE45-CFAF2734F0F6}" vid="{A72F8218-4743-4B1B-A885-BA1DCF34E058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110ABAA6081984194CC417A347AAA85" ma:contentTypeVersion="19" ma:contentTypeDescription="Create a new document." ma:contentTypeScope="" ma:versionID="8ac47e4dfe7acc50ab2f1447da3b72f2">
  <xsd:schema xmlns:xsd="http://www.w3.org/2001/XMLSchema" xmlns:xs="http://www.w3.org/2001/XMLSchema" xmlns:p="http://schemas.microsoft.com/office/2006/metadata/properties" xmlns:ns2="29e04ca5-0678-4fa4-bc68-7b91d9e40d86" xmlns:ns3="40ef0408-f797-4b5a-b521-e02c51b49b04" targetNamespace="http://schemas.microsoft.com/office/2006/metadata/properties" ma:root="true" ma:fieldsID="0915fb2890a532e195b75cafe74c511b" ns2:_="" ns3:_="">
    <xsd:import namespace="29e04ca5-0678-4fa4-bc68-7b91d9e40d86"/>
    <xsd:import namespace="40ef0408-f797-4b5a-b521-e02c51b49b04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LengthInSeconds" minOccurs="0"/>
                <xsd:element ref="ns3:MediaServiceLocation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  <xsd:element ref="ns3:Comme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9e04ca5-0678-4fa4-bc68-7b91d9e40d86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651a6cbe-634d-4446-829c-0547b60b829d}" ma:internalName="TaxCatchAll" ma:showField="CatchAllData" ma:web="29e04ca5-0678-4fa4-bc68-7b91d9e40d8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0ef0408-f797-4b5a-b521-e02c51b49b0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7a9922f0-7a2e-45f4-8caa-22c5d3065b4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Comments" ma:index="26" nillable="true" ma:displayName="Comments" ma:format="Dropdown" ma:internalName="Comments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29e04ca5-0678-4fa4-bc68-7b91d9e40d86">
      <UserInfo>
        <DisplayName>Zhao, Abraham</DisplayName>
        <AccountId>21</AccountId>
        <AccountType/>
      </UserInfo>
      <UserInfo>
        <DisplayName>Wishart, Margaret</DisplayName>
        <AccountId>443</AccountId>
        <AccountType/>
      </UserInfo>
      <UserInfo>
        <DisplayName>Anandalwar, Jay</DisplayName>
        <AccountId>216</AccountId>
        <AccountType/>
      </UserInfo>
      <UserInfo>
        <DisplayName>Borgman, Andrew</DisplayName>
        <AccountId>53</AccountId>
        <AccountType/>
      </UserInfo>
      <UserInfo>
        <DisplayName>Wilson, Betsy</DisplayName>
        <AccountId>1071</AccountId>
        <AccountType/>
      </UserInfo>
      <UserInfo>
        <DisplayName>Vohra, Rajan</DisplayName>
        <AccountId>16</AccountId>
        <AccountType/>
      </UserInfo>
      <UserInfo>
        <DisplayName>Belotserkovsky, Olga</DisplayName>
        <AccountId>438</AccountId>
        <AccountType/>
      </UserInfo>
      <UserInfo>
        <DisplayName>Gerks, John</DisplayName>
        <AccountId>125</AccountId>
        <AccountType/>
      </UserInfo>
      <UserInfo>
        <DisplayName>Sharma, Vijay</DisplayName>
        <AccountId>696</AccountId>
        <AccountType/>
      </UserInfo>
      <UserInfo>
        <DisplayName>Thorne, Nicole</DisplayName>
        <AccountId>683</AccountId>
        <AccountType/>
      </UserInfo>
      <UserInfo>
        <DisplayName>Noor, Samar</DisplayName>
        <AccountId>47</AccountId>
        <AccountType/>
      </UserInfo>
      <UserInfo>
        <DisplayName>Fridman, Steve</DisplayName>
        <AccountId>19</AccountId>
        <AccountType/>
      </UserInfo>
    </SharedWithUsers>
    <lcf76f155ced4ddcb4097134ff3c332f xmlns="40ef0408-f797-4b5a-b521-e02c51b49b04">
      <Terms xmlns="http://schemas.microsoft.com/office/infopath/2007/PartnerControls"/>
    </lcf76f155ced4ddcb4097134ff3c332f>
    <TaxCatchAll xmlns="29e04ca5-0678-4fa4-bc68-7b91d9e40d86" xsi:nil="true"/>
    <Comments xmlns="40ef0408-f797-4b5a-b521-e02c51b49b04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1B9A932-0F44-43FE-B9F7-460D66AFC009}">
  <ds:schemaRefs>
    <ds:schemaRef ds:uri="29e04ca5-0678-4fa4-bc68-7b91d9e40d86"/>
    <ds:schemaRef ds:uri="40ef0408-f797-4b5a-b521-e02c51b49b04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4C068594-E6B1-4BC9-9BCE-362D08E62F4B}">
  <ds:schemaRefs>
    <ds:schemaRef ds:uri="29e04ca5-0678-4fa4-bc68-7b91d9e40d86"/>
    <ds:schemaRef ds:uri="40ef0408-f797-4b5a-b521-e02c51b49b04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7D7F416A-21C0-4079-977C-07095376934E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71e34cb8-3a56-4fd5-a259-4acadab6e4ac}" enabled="0" method="" siteId="{71e34cb8-3a56-4fd5-a259-4acadab6e4ac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27</TotalTime>
  <Words>380</Words>
  <Application>Microsoft Office PowerPoint</Application>
  <PresentationFormat>Widescreen</PresentationFormat>
  <Paragraphs>63</Paragraphs>
  <Slides>17</Slides>
  <Notes>2</Notes>
  <HiddenSlides>0</HiddenSlides>
  <MMClips>3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9" baseType="lpstr">
      <vt:lpstr>Aptos Light</vt:lpstr>
      <vt:lpstr>Arial</vt:lpstr>
      <vt:lpstr>Calibri</vt:lpstr>
      <vt:lpstr>Courier New</vt:lpstr>
      <vt:lpstr>Graphik</vt:lpstr>
      <vt:lpstr>Noto Sans Symbols</vt:lpstr>
      <vt:lpstr>Roboto</vt:lpstr>
      <vt:lpstr>Tahoma</vt:lpstr>
      <vt:lpstr>Trebuchet MS</vt:lpstr>
      <vt:lpstr>Bristol Myers Squibb</vt:lpstr>
      <vt:lpstr>3_Bristol Myers Squibb</vt:lpstr>
      <vt:lpstr>think-cell Slide</vt:lpstr>
      <vt:lpstr>PowerPoint Presentation</vt:lpstr>
      <vt:lpstr>The Growing Complexity of Clinical Dashboards</vt:lpstr>
      <vt:lpstr>The Faces of Clinical Data Analysis</vt:lpstr>
      <vt:lpstr>PowerPoint Presentation</vt:lpstr>
      <vt:lpstr>The Isolated Statistician</vt:lpstr>
      <vt:lpstr>The Overwhelmed Programmer</vt:lpstr>
      <vt:lpstr>Friday Afternoon</vt:lpstr>
      <vt:lpstr>Friday Afternoon</vt:lpstr>
      <vt:lpstr>There's a Better Way: Meet blockr</vt:lpstr>
      <vt:lpstr>Empowering the Researcher</vt:lpstr>
      <vt:lpstr>Unleashing the Statistician </vt:lpstr>
      <vt:lpstr>Liberating the Programmer</vt:lpstr>
      <vt:lpstr>Multi-Dashboard Management</vt:lpstr>
      <vt:lpstr>The Verdict</vt:lpstr>
      <vt:lpstr> https://github.com/BristolMyersSquibb/blockr   </vt:lpstr>
      <vt:lpstr>Q&amp;A | Any questions? 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fine Biostatistics Interaction Model</dc:title>
  <dc:creator>Wishart, Margaret</dc:creator>
  <cp:lastModifiedBy>Tarap, Karma</cp:lastModifiedBy>
  <cp:revision>6</cp:revision>
  <dcterms:created xsi:type="dcterms:W3CDTF">2020-11-17T01:20:03Z</dcterms:created>
  <dcterms:modified xsi:type="dcterms:W3CDTF">2024-10-25T14:57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110ABAA6081984194CC417A347AAA85</vt:lpwstr>
  </property>
  <property fmtid="{D5CDD505-2E9C-101B-9397-08002B2CF9AE}" pid="3" name="MediaServiceImageTags">
    <vt:lpwstr/>
  </property>
</Properties>
</file>